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7" r:id="rId5"/>
    <p:sldMasterId id="2147483690" r:id="rId6"/>
  </p:sldMasterIdLst>
  <p:notesMasterIdLst>
    <p:notesMasterId r:id="rId24"/>
  </p:notesMasterIdLst>
  <p:handoutMasterIdLst>
    <p:handoutMasterId r:id="rId25"/>
  </p:handoutMasterIdLst>
  <p:sldIdLst>
    <p:sldId id="256" r:id="rId7"/>
    <p:sldId id="260" r:id="rId8"/>
    <p:sldId id="261" r:id="rId9"/>
    <p:sldId id="264" r:id="rId10"/>
    <p:sldId id="266" r:id="rId11"/>
    <p:sldId id="267" r:id="rId12"/>
    <p:sldId id="268" r:id="rId13"/>
    <p:sldId id="269" r:id="rId14"/>
    <p:sldId id="270" r:id="rId15"/>
    <p:sldId id="271" r:id="rId16"/>
    <p:sldId id="272" r:id="rId17"/>
    <p:sldId id="273" r:id="rId18"/>
    <p:sldId id="274" r:id="rId19"/>
    <p:sldId id="275" r:id="rId20"/>
    <p:sldId id="276" r:id="rId21"/>
    <p:sldId id="277" r:id="rId22"/>
    <p:sldId id="278" r:id="rId23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00"/>
    <a:srgbClr val="006600"/>
    <a:srgbClr val="00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Style moye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69" d="100"/>
          <a:sy n="69" d="100"/>
        </p:scale>
        <p:origin x="-1416" y="-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89" d="100"/>
          <a:sy n="89" d="100"/>
        </p:scale>
        <p:origin x="-3126" y="-12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EB57F59-EA4B-481C-8CAD-A3594650AB31}" type="datetimeFigureOut">
              <a:rPr lang="fr-FR" smtClean="0"/>
              <a:t>22/04/2015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4BC378-CD28-4A9F-A116-873887AAF80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0959799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8259D5-8B55-4FAD-ACA1-5B2C3EC5ACF6}" type="datetimeFigureOut">
              <a:rPr lang="fr-FR" smtClean="0"/>
              <a:t>22/04/2015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4C3A27-6B36-4B84-9D11-E6473B4A342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728667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29/04/2013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4C3A27-6B36-4B84-9D11-E6473B4A342D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130645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oleObject" Target="../embeddings/oleObject2.bin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8.xml"/><Relationship Id="rId4" Type="http://schemas.openxmlformats.org/officeDocument/2006/relationships/tags" Target="../tags/tag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4.xml"/><Relationship Id="rId4" Type="http://schemas.openxmlformats.org/officeDocument/2006/relationships/tags" Target="../tags/tag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B5DDCBF-14BD-4037-A6C5-42AD84C49FDF}" type="datetimeFigureOut">
              <a:rPr lang="fr-FR" smtClean="0"/>
              <a:t>22/04/2015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E5FE5AE-05F7-470B-A42F-6185BE8D780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477033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5DC5508-8451-485B-A39E-0CCA81412775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14155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9BD161F-4031-4EBD-AA48-01ADEFEC60FB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85357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AB2DCF1-6B72-48CF-90B4-78C8AEA154B9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23869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8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  <p:custDataLst>
              <p:tags r:id="rId4"/>
            </p:custDataLst>
          </p:nvPr>
        </p:nvSpPr>
        <p:spPr/>
        <p:txBody>
          <a:bodyPr/>
          <a:lstStyle/>
          <a:p>
            <a:fld id="{E12F788F-0757-4F74-8933-1C2656B44445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  <p:custDataLst>
              <p:tags r:id="rId5"/>
            </p:custDataLst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03932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204864"/>
            <a:ext cx="8229600" cy="39212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BE7FC98-F726-4387-BD61-63831D042500}" type="slidenum">
              <a:rPr lang="en-US"/>
              <a:pPr/>
              <a:t>‹N°›</a:t>
            </a:fld>
            <a:endParaRPr lang="en-US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205880"/>
            <a:ext cx="8229600" cy="7829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503415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22/04/2015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840999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22/04/2015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941696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22/04/2015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928081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22/04/2015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153538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22/04/2015</a:t>
            </a:fld>
            <a:endParaRPr 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29006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B5DDCBF-14BD-4037-A6C5-42AD84C49FDF}" type="datetimeFigureOut">
              <a:rPr lang="fr-FR" smtClean="0"/>
              <a:t>22/04/2015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E5FE5AE-05F7-470B-A42F-6185BE8D780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136990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22/04/2015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730114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22/04/2015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3711333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22/04/2015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597141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22/04/2015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4772092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22/04/2015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4395051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22/04/2015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208048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5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  <p:custDataLst>
              <p:tags r:id="rId4"/>
            </p:custDataLst>
          </p:nvPr>
        </p:nvSpPr>
        <p:spPr/>
        <p:txBody>
          <a:bodyPr/>
          <a:lstStyle/>
          <a:p>
            <a:fld id="{E12F788F-0757-4F74-8933-1C2656B44445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17368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204864"/>
            <a:ext cx="8229600" cy="39212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BE7FC98-F726-4387-BD61-63831D042500}" type="slidenum">
              <a:rPr lang="en-US"/>
              <a:pPr/>
              <a:t>‹N°›</a:t>
            </a:fld>
            <a:endParaRPr lang="en-US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205880"/>
            <a:ext cx="8229600" cy="7829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677421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DC32874-BA58-4059-9FA9-F661A69B61AF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69076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A9F30DF-C569-4111-86DE-159B20EE983B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57375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B36AA4E-BBB7-4C73-A4A4-12AB7C1A4201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76481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6D401C7-445D-4F26-B0D0-F9693DCB8CE3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32888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C383194-92EE-4484-A7AB-A06E91293D66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2221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5" Type="http://schemas.openxmlformats.org/officeDocument/2006/relationships/image" Target="../media/image3.jpeg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image" Target="../media/image2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3" descr="Front Template.jpg"/>
          <p:cNvPicPr>
            <a:picLocks noChangeAspect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081123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BetClic Everest Template.jpg"/>
          <p:cNvPicPr>
            <a:picLocks noChangeAspect="1"/>
          </p:cNvPicPr>
          <p:nvPr/>
        </p:nvPicPr>
        <p:blipFill>
          <a:blip r:embed="rId15" cstate="email"/>
          <a:srcRect/>
          <a:stretch>
            <a:fillRect/>
          </a:stretch>
        </p:blipFill>
        <p:spPr bwMode="auto">
          <a:xfrm>
            <a:off x="0" y="0"/>
            <a:ext cx="9144000" cy="13407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205880"/>
            <a:ext cx="8229600" cy="854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2060848"/>
            <a:ext cx="8229600" cy="4065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pitchFamily="-65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ea typeface="ＭＳ Ｐゴシック" pitchFamily="-65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898989"/>
                </a:solidFill>
                <a:latin typeface="Calibri" pitchFamily="-65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fr-FR">
              <a:ea typeface="ＭＳ Ｐゴシック" pitchFamily="-65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-65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AC9E2451-CB33-4F6A-B952-7BC24754B2E4}" type="slidenum">
              <a:rPr lang="en-US">
                <a:ea typeface="ＭＳ Ｐゴシック" pitchFamily="-65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>
              <a:ea typeface="ＭＳ Ｐゴシック" pitchFamily="-65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02039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457200" rtl="0" fontAlgn="base">
        <a:spcBef>
          <a:spcPct val="0"/>
        </a:spcBef>
        <a:spcAft>
          <a:spcPct val="0"/>
        </a:spcAft>
        <a:defRPr sz="2800" kern="1200">
          <a:solidFill>
            <a:srgbClr val="500050"/>
          </a:solidFill>
          <a:latin typeface="+mj-lt"/>
          <a:ea typeface="ＭＳ Ｐゴシック" pitchFamily="-65" charset="-128"/>
          <a:cs typeface="+mj-cs"/>
        </a:defRPr>
      </a:lvl1pPr>
      <a:lvl2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2pPr>
      <a:lvl3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3pPr>
      <a:lvl4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4pPr>
      <a:lvl5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9pPr>
    </p:titleStyle>
    <p:bodyStyle>
      <a:lvl1pPr marL="342900" marR="0" indent="-342900" algn="l" defTabSz="914400" rtl="0" eaLnBrk="1" fontAlgn="base" latinLnBrk="0" hangingPunct="1">
        <a:lnSpc>
          <a:spcPct val="90000"/>
        </a:lnSpc>
        <a:spcBef>
          <a:spcPts val="400"/>
        </a:spcBef>
        <a:spcAft>
          <a:spcPct val="0"/>
        </a:spcAft>
        <a:buClr>
          <a:srgbClr val="D09E00"/>
        </a:buClr>
        <a:buSzTx/>
        <a:buFont typeface="Arial" charset="0"/>
        <a:buChar char="•"/>
        <a:tabLst/>
        <a:defRPr kumimoji="0" lang="en-US" sz="1800" b="0" i="0" u="none" strike="noStrike" kern="0" cap="none" spc="0" normalizeH="0" baseline="0" noProof="0" dirty="0" smtClean="0">
          <a:ln>
            <a:noFill/>
          </a:ln>
          <a:solidFill>
            <a:srgbClr val="000000"/>
          </a:solidFill>
          <a:effectLst/>
          <a:uLnTx/>
          <a:uFillTx/>
          <a:latin typeface="Arial"/>
          <a:ea typeface="+mn-ea"/>
          <a:cs typeface="+mn-cs"/>
        </a:defRPr>
      </a:lvl1pPr>
      <a:lvl2pPr marL="742950" marR="0" indent="-285750" algn="l" defTabSz="914400" rtl="0" eaLnBrk="1" fontAlgn="base" latinLnBrk="0" hangingPunct="1">
        <a:lnSpc>
          <a:spcPct val="90000"/>
        </a:lnSpc>
        <a:spcBef>
          <a:spcPts val="400"/>
        </a:spcBef>
        <a:spcAft>
          <a:spcPct val="0"/>
        </a:spcAft>
        <a:buClr>
          <a:srgbClr val="D09E00"/>
        </a:buClr>
        <a:buSzTx/>
        <a:buFont typeface="Arial" charset="0"/>
        <a:buChar char="–"/>
        <a:tabLst/>
        <a:defRPr kumimoji="0" lang="en-US" sz="1600" b="0" i="0" u="none" strike="noStrike" kern="0" cap="none" spc="0" normalizeH="0" baseline="0" noProof="0" dirty="0" smtClean="0">
          <a:ln>
            <a:noFill/>
          </a:ln>
          <a:solidFill>
            <a:srgbClr val="000000"/>
          </a:solidFill>
          <a:effectLst/>
          <a:uLnTx/>
          <a:uFillTx/>
          <a:latin typeface="Arial"/>
          <a:ea typeface="+mn-ea"/>
          <a:cs typeface="+mn-cs"/>
        </a:defRPr>
      </a:lvl2pPr>
      <a:lvl3pPr marL="1143000" marR="0" indent="-228600" algn="l" defTabSz="914400" rtl="0" eaLnBrk="1" fontAlgn="base" latinLnBrk="0" hangingPunct="1">
        <a:lnSpc>
          <a:spcPct val="90000"/>
        </a:lnSpc>
        <a:spcBef>
          <a:spcPts val="400"/>
        </a:spcBef>
        <a:spcAft>
          <a:spcPct val="0"/>
        </a:spcAft>
        <a:buClr>
          <a:srgbClr val="D09E00"/>
        </a:buClr>
        <a:buSzTx/>
        <a:buFont typeface="Arial" charset="0"/>
        <a:buChar char="•"/>
        <a:tabLst/>
        <a:defRPr kumimoji="0" lang="en-US" sz="1600" b="0" i="0" u="none" strike="noStrike" kern="0" cap="none" spc="0" normalizeH="0" baseline="0" noProof="0" dirty="0" smtClean="0">
          <a:ln>
            <a:noFill/>
          </a:ln>
          <a:solidFill>
            <a:srgbClr val="000000"/>
          </a:solidFill>
          <a:effectLst/>
          <a:uLnTx/>
          <a:uFillTx/>
          <a:latin typeface="Arial"/>
          <a:ea typeface="+mn-ea"/>
          <a:cs typeface="+mn-cs"/>
        </a:defRPr>
      </a:lvl3pPr>
      <a:lvl4pPr marL="1600200" marR="0" indent="-228600" algn="l" defTabSz="914400" rtl="0" eaLnBrk="1" fontAlgn="base" latinLnBrk="0" hangingPunct="1">
        <a:lnSpc>
          <a:spcPct val="90000"/>
        </a:lnSpc>
        <a:spcBef>
          <a:spcPts val="400"/>
        </a:spcBef>
        <a:spcAft>
          <a:spcPct val="0"/>
        </a:spcAft>
        <a:buClr>
          <a:srgbClr val="D09E00"/>
        </a:buClr>
        <a:buSzTx/>
        <a:buFont typeface="Arial" charset="0"/>
        <a:buChar char="–"/>
        <a:tabLst/>
        <a:defRPr kumimoji="0" lang="en-US" sz="1600" b="0" i="0" u="none" strike="noStrike" kern="0" cap="none" spc="0" normalizeH="0" baseline="0" noProof="0" dirty="0" smtClean="0">
          <a:ln>
            <a:noFill/>
          </a:ln>
          <a:solidFill>
            <a:srgbClr val="000000"/>
          </a:solidFill>
          <a:effectLst/>
          <a:uLnTx/>
          <a:uFillTx/>
          <a:latin typeface="Arial"/>
          <a:ea typeface="+mn-ea"/>
          <a:cs typeface="+mn-cs"/>
        </a:defRPr>
      </a:lvl4pPr>
      <a:lvl5pPr marL="2057400" marR="0" indent="-228600" algn="l" defTabSz="914400" rtl="0" eaLnBrk="1" fontAlgn="base" latinLnBrk="0" hangingPunct="1">
        <a:lnSpc>
          <a:spcPct val="90000"/>
        </a:lnSpc>
        <a:spcBef>
          <a:spcPts val="400"/>
        </a:spcBef>
        <a:spcAft>
          <a:spcPct val="0"/>
        </a:spcAft>
        <a:buClr>
          <a:srgbClr val="D09E00"/>
        </a:buClr>
        <a:buSzTx/>
        <a:buFont typeface="Arial" charset="0"/>
        <a:buChar char="»"/>
        <a:tabLst/>
        <a:defRPr kumimoji="0" lang="en-US" sz="1600" b="0" i="0" u="none" strike="noStrike" kern="0" cap="none" spc="0" normalizeH="0" baseline="0" noProof="0" dirty="0" smtClean="0">
          <a:ln>
            <a:noFill/>
          </a:ln>
          <a:solidFill>
            <a:srgbClr val="000000"/>
          </a:solidFill>
          <a:effectLst/>
          <a:uLnTx/>
          <a:uFillTx/>
          <a:latin typeface="Arial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7EA0D3-7B0F-43CC-83D3-741EA48248DA}" type="datetimeFigureOut">
              <a:rPr lang="fr-FR" smtClean="0"/>
              <a:t>22/04/2015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45229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3568" y="2708920"/>
            <a:ext cx="7772400" cy="1470025"/>
          </a:xfrm>
        </p:spPr>
        <p:txBody>
          <a:bodyPr/>
          <a:lstStyle/>
          <a:p>
            <a:r>
              <a:rPr lang="fr-FR" b="1" dirty="0" smtClean="0"/>
              <a:t>Code Dojo – Fruit Shop</a:t>
            </a:r>
            <a:endParaRPr lang="fr-FR" b="1" dirty="0"/>
          </a:p>
        </p:txBody>
      </p:sp>
      <p:sp>
        <p:nvSpPr>
          <p:cNvPr id="3" name="ZoneTexte 2"/>
          <p:cNvSpPr txBox="1"/>
          <p:nvPr/>
        </p:nvSpPr>
        <p:spPr>
          <a:xfrm>
            <a:off x="3275856" y="3593312"/>
            <a:ext cx="24929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3600" b="1" dirty="0" smtClean="0">
                <a:solidFill>
                  <a:schemeClr val="bg2">
                    <a:lumMod val="75000"/>
                  </a:schemeClr>
                </a:solidFill>
              </a:rPr>
              <a:t>22/04/2015</a:t>
            </a:r>
            <a:endParaRPr lang="fr-FR" sz="3600" b="1" dirty="0">
              <a:solidFill>
                <a:schemeClr val="bg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3374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FC98-F726-4387-BD61-63831D042500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460375" y="1161913"/>
            <a:ext cx="8229600" cy="782960"/>
          </a:xfrm>
        </p:spPr>
        <p:txBody>
          <a:bodyPr/>
          <a:lstStyle/>
          <a:p>
            <a:r>
              <a:rPr lang="fr-FR" sz="3600" dirty="0" err="1" smtClean="0"/>
              <a:t>Iteration</a:t>
            </a:r>
            <a:r>
              <a:rPr lang="fr-FR" sz="3600" dirty="0" smtClean="0"/>
              <a:t> 3</a:t>
            </a:r>
            <a:r>
              <a:rPr lang="fr-FR" sz="1800" dirty="0"/>
              <a:t/>
            </a:r>
            <a:br>
              <a:rPr lang="fr-FR" sz="1800" dirty="0"/>
            </a:br>
            <a:endParaRPr lang="fr-FR" sz="1800" dirty="0"/>
          </a:p>
        </p:txBody>
      </p:sp>
      <p:sp>
        <p:nvSpPr>
          <p:cNvPr id="5" name="AutoShape 2" descr="data:image/jpeg;base64,/9j/4AAQSkZJRgABAQAAAQABAAD/2wCEAAkGBhQQEBASEhIPEBAWEBIQEA8UFRQPEBIQFBAVFBQQEhIXGyYeFxkjGRIUHy8gIycpLCwsFR4xNTAqNSYrLCkBCQoKDgwOGg8PGiklHyQtKTQpLDA1KiksLC0sLCw1NSwqLCwvLDQsLC0pLCotLCwsKSwsLCwsLCwsLCksLCwpKf/AABEIAMsA+AMBIgACEQEDEQH/xAAcAAEAAQUBAQAAAAAAAAAAAAAABgIDBAUHAQj/xAA+EAABAwIBCAgEBQMDBQAAAAABAAIDBBEGBRIhMUFRcZEHEzJhgaGxwSJSYtEUI0JDcoKSojPh4hVTwvDx/8QAGgEBAAIDAQAAAAAAAAAAAAAAAAUGAgMEAf/EACwRAAICAgEDAgUEAwEAAAAAAAABAgMEETEFEiETQVFhcaHxQoGRwTKx0SL/2gAMAwEAAhEDEQA/AO4oiIAiIgCK26oaDYkA/wDu1etlB1EHgQUBWiIgCIiAIiIAiIgCIiAIiIAiIgCIiAIiIAiIgCIiAIiIAiIgCIiAIi8KAt05vnHe8+QA9lW6IHWAeIBVukHwDvu7+4k+6vIC1+GbutwJb6J1O5zx439QVdRAWsx3zA8R9il3bmnxI8rK6iAtdadrHeFj7p+IG3OHFp9bK6qTIN45oCkTtP6m81cXhAO4+at/hm7gOHw+iAuorXUbi4eJPqnVu2O5gH0sgLqK18f0Hm37p1jtrT4EH1sgLqK11+8OHgT6L0VDfmHjo9UBcReB19WleoAiIgCIiAIiIAiIgCIiAIiIArdQ6zXHuPoris1XZtvIHNwCAuRtsANwA8lUiIAiKN40xnHk6K+h87geqivr+p25oXqWzKMXJ6RtMtZfho4+snkbG3YNbnHc1uslcyy70ySvJbSxtib/AN2T4nnvDdQ81BMr5Zlq5TLO8vedXytHytGwLCW5QS5JWrEjHzLyzbV2LKuc/mVM57g4sbybZa41b/nk/ud91aRZnWopcIzaXLc8RvHPOw9z3W5XspNknpXrIbB5ZUM2h4s+3c8KGIjSZjKuEuUd3w10l01YQwkwTH9t/ZJ3MfqKly+Wl0bAHSU6JzKarcXRGzY5jpdGdgedre/YtUofAj7sTS7ofwdfReNdcXGkawVRUzBjHOOoNJ5BaW0ltnAlt6Li8IXPP+uTZxIkeLkm17gX2WWVFiqdv6mu4tHsoSPW6Hymv4JN9Mt9mibGnaf0t5aea8/DjYXD+oqPZIxPJNKyMsZp1uFxYDbZSZSmPk15Ee6vg4bqZ0vtmWuqOx58QD7JZ+9p8CPcqzXZUjhzesdm31aCdSpiy1C7VKznb1WburUu1yW/hsxVU2u5J6MjPd8oPA/eyddva8eF/RVMna7U5p4EFVrYmnwYa0WvxLd9uN2+qra8HUQeGlVKh0LTra0+AXp4VorLoAATpFgTocQOV7Kikqg5o03NhfjZAZKIiAIiIArM+tg+q/JpKvKy7TI3ua4+YH3QF5ERAYmVcpMpoZJpDZjGlx3m2oDvK+dcu5akrJ3zyH4nHQ3Yxn6WDuC6P0z5aIZBStPaPWyD6WmzRzvyXKFvrXjZLYdWo979wiIth3BFvcL4Onyg8iIBsYNnzO7De4bz3LoNP0KwBvx1E7nbS0NYL9w0rFySNFl8IPTZyFF0HEfRFLAx0lM8ztAuYyLS2Hy20O4Ln5H/AMXqafBnCyM1uLPERF6bDsvRLigzwuppHXkhALCdJdCTYcjo5KR4vrMyAMGt7reA0lcYwDlM0+UaZ17Nc/qn/wAXi3rZdpxdT51PnbWuB8DoKi+pKSx59vw/P2I704wyot8N/f8AJCERFQCwkowXR/6kp/g31KlSwci0fVQRt22ueJ0q/XVIije8/paT47FesOpY+Ok/ZbZVcmbuubXx0iF4orOsqHAamDMHHWfNaheveSSTrJJPErxUq6122Sm/dlmqgq4KK9j1riNRIPdoXRsk05jhjaSS7NBcTpNzpKhGQaPraiNuwHOdwbp9V0JWDolL1K1/RER1SzzGC+oREVjIYxMqzZkErt0bvRaXDUhc0XWfimXNpZO/NbzcPssbDcVmBAb9ERAEREAVlnbd3NaPMlXlZg1vP1W5AD2KAvIiIDgnSdW9ZlOfcwMiA4NufMqKrZYkqetrKp++eTkHWHotaupcFgrWoJfILJydQOnmihZ2nvawd1za/hrWMpj0UUuflJhtcMikf42DQfNG9IWS7YuR2bImR2UkEcEYs1rbd7nbXHvJWciLlIBvb2wuHdK2RW09dnsFmzM6wgag8GzuetdxXHOmetDquCMEExwuLu4vdoB8B5rOvk6sNv1PBz1ERdBMmTk51poSNYmjI454X0Xl4XpZf4L58w7SmWrpmDSTMzkDc+QX0BiWTNpZNlwGjxIXDnNKmW/g/wDRw3+bq0vj/ZAVn5Co+tqI27Ac93ALAWyyLlcUznOzM8kAXvawVBxuz1Y+o/G/JM3d3pvs5OgKOYyrLRsjGtxueDf917FjSM9pj28io/lzKInmLxfNsGtvuCsnUOoVSx3GqW2/H7ELiYlkbk5rSRr0RehtyANZNhxKqhPEswZR2a+U7TmDgNfqpKsbJtJ1UUbNzRfjtWSr9h0+jTGHy8/UqeTb6trkERF1Ggj2MpPyom/NKPIFZmQo7MHBavFr7y07Nwc7mQPZbzJbLMHBAZqIiAIiIAVZpezfeSebiq5XWaTuBPkkLbNaNzQPJAVqxXTZkUj/AJWOdyaSr60eNqrqsn1btX5LgOLtA9V6jKK20j54e/OJdvJdzN/dUoEXUWELpHQpS3nqpPljYwcXOJPoFzddf6FaW1NUSfNMG+DWD7rCfBz5T1UzoyLWYixBHQwOmlOgaGtHae86mtXFMRdIVVWFw6wwwnVDGc3R9TtblpjFsjKceVvlcHUcWdIsFE1zWObNUW+GJpuGnfI4auGtcPyhXvnlfLI7Oke4uce87B3BY6LfGKRK00RqXjkIirihc9zWtBc5xDWtGkknQAFkbia9EeRjNW9cR8ELC6+zrHfCByuV0jGlXZkce0nOPBur1VeC8ODJ1G1jrdYfzJ3fWRpF9wAso5lev6+Zz/06mj6RqVf6zkqFPYuZeP29zlx16+R3+0TCRZWTsnPncWstcC5voFlly4Ynb+jO4EFVOGPbOPdGLaJaV1cX2ykkzVIrtRSujNntLTa9ju3q0tLTT0zYmmtoL0FeIvD0zIsrzN1Sv53UiwxlOaZ7s92cxrdwuSdQuoip1haj6unaTrec88NgUz0p22Xpdz0vL8sjM9Vwqb0ts3CIit5XiI5bdnVoHysaOdz7qT0bbNCil8+tmO5+b/aAPZS6AfCEBcREQBERAWavskb7DmQPdXlZn1sH1jyufZXkAUM6WqnMya8fPJGzwzrn0UzXNemuqtBSx/NK5/g1v/JZR5N+Ot2ROSIiLpJ09XdeiqlzMmQn53SSc3aPRcJK+jcH0vVUFIzdAy/Ei59Vqs4OHNf/AIS+ZzTplykXVUMFzmMiD7b3vJ08hZc9U96Y6Mtro5LaHwAA97HEEeY5qBLOPBvx9elHQREWRvK4oi9wa0FzibNaBdxJ2ALsfR50efhLVFQAagj4GaxCD/5ei2mBcMUkEEU8DesdIwO699nP0jSBsbp3JiDEjruiju2xzXvOh3eG7uKj8zNhjw7pfk4HOeRL06/C92eYoy7nXhjOj9xw2/SFGURUTJyJ5FjnL8EzTTGmHbEmGDaPNjdIdbjYfxH+6kSiOT8WNiYxhiNmgC4PmsqpxfG6N4aHh5aQ240XPerPiZmLTQoKS8L7kHkY19lrk48s0GXKzrZ5HbAc1vALARFU7Juybm+WT8IqEVFexUxhcQBrJAHEqajCUJaLhwdYXIOs20laDC1H1lQCdTBn+OxTpWHpGHCdcp2RT3xv5ER1DIlCajB61yRyTBTNkjx3GxUhjYGgAagABwCqRTlONVS26462Rdl9lulN70EJRY+UJc2KR25jj/iV0GkieQvjle/e9x5uKmTBoCieFYtAKlwQBERAEREBZfpezuDj6D3V5WW6ZD3NA5kn2CvIAuP9NNVeppo/lhc48XO+wXYFwjpUqs/Kco+RkbP8bn1WdfJ2Ya3YRFERdBMFcMWc5jfmc1vNwHuvp2lizGMbua1vIAL50wpS9bXUjN87CeAOcfRfSC02EZnPzFES6S8N/jKNxYLzQ3lj3kAfGzxHouDr6lXBOkXDf4Ksdmi0Mt5YtwJPxM8D6pW/Y9wrf0P9iKoiLcSR1DoexLYvonnQbyQX3/rYPXmpTjDJliJmjQbNfx2O9lw6grXQSxyxmz2OD2nvB1cNi+iMl5QjyhRskGlkjPiHyu1ObxBUbn4qyKnD+PqcM28e5Wrh8kCRXqulMT3MdrabcdxWZTYfmkYJGNBadXxAHkVQ402Sk4xi21yialZCKUm1pmtRZsuRZ264n8QM4eSwljOuUPEk19fB7GcZf4vYREWBmXIahzNLXObwNlmR4gnb+448bFa9ZWTKTrZo2bC4X/iNa31TtUlGuTW/marIw03NInuSnvdCx0ml5Fzotr1eSy141tgB4L1X6Ee2KTe9FSk9tsLV4llzaWXvAb/c4BbRaHGMloGN+aVvkCVmYlvDMVmhSJajIMdmDgtugCIiAIiFAWYNbz9QHJo+5V5WaXs33ucf8iryAL5xxdVdbX1b987wODfh9l9GP1G2uxtxXz/lLBNcHyPdTSnOe5xLbP1uJ2LZWd+E0m22RxFlT5Lmj7cMrOLHD2WKdGvR5LeSieyWdF1Ln5Th+hsknJth6rvK470L02dV1Enywhvi5/8AxXYlos5IjMe7NfIKNdIGG/xtG9rR+cz82E7c4DS3xGjkpKiwT0csZOLTR8t28N479y8Uy6UMNfhasyMFoZrvG5sn62+/ioaulPa2T8JqcVJBdF6H8RmOZ9I8/BJd8W4SAaR4j0XOls8MzmOtpXDWKiPxu4C3mvJLaMbYKcGmdsxdkzOMT2j4i4RHvv2T6qQ0sAjY1g1NaByCqkiDrXF7EOHEaiq1GV40a7Z2r9WiHnc51xg/bZrcQVnVU7zqJGY3i5c/UjxnWXeyMamjOdxOryUcVX6td6mQ4riPj/pO9Pq7Kd/ELb4cySKiR2eCWNbpsbaTq0rUKc4Uo8yAOOt5z/DYtXTcdX3pSXheWZ5tzqqbXL4LMmDIjqdIO64Psr+ScONp5C8OLjm5ouLWvrW4RWuODjxkpxgk0QMsq6UXFy8BERdhzBRjGD7vp2d7nHyA91J1EsQOzqxjfljHmSUBvsksswcFnrGoW2aFkoAiIgCpkdYE911UrNYfgdwKA9phZjf4i/G2lXVZjqmHQHtPdcXV5AEREBS5gOsA8dKwqnINPJ24IXcWNvzss9EPU2uDX5Lw/BSl5giZEX2z80WvbUtgiIG2/LCIiHhosaYcFfSSRaBIPjicdkg1eB1eK+faukfC90cjXRyNNnMcLEH7L6fWtythynqv9eGOQ7HEWcP6hpWcZ6OvHyfS8Pg+bFOei/Cb6ipZUvaRTxHODiLZ8g7IbvA13XRqbo3oI3Zwp2uN7gOLnjkTZSSOINAa0BrRoDQLADcAFlKz4G63MUo6iipeOdYEnUBcr1Y+UKd0kT2NIaXC2drtvWibai2ltnBFJtJnPcoVXWyvfvcbcNnksdb6XB0w1Ojd4kLElw5UN/bJ4EFUW3EyduUoP+C0wyKdJRkjCpKcySMYNbnAffyXSoow1oaNQAA4BRTCuSXNmc+Rjm5rfhuLfEd3gparD0bHddbnJeW/siI6lcpzUVwv7CIimyLCIiAKHTnPrpTucG8mgKYqF5IOfPK7fI4/5FAS+nFmhXVTGNAVSAIiIArVQ27SrqICCZayO5ziRdattJUR9mSVvBzvuulPpwditOye07EBAY8tVjP3XH+QDvULJjxrVN7TIn/0lp8ipc/IzTsCxZMPNOwIDTRdIJHbg/td9ws2HH8B7TZWeAcPIr2XC7TsWHLhMbkBuYcXUrv3Q3ucHN9Qs+HKkT+zLE7g5v3UKlwodyw5cMOGxAdKDr6tK9XLxkyaPsukbwcQrzMo1keqaQ8fi9UB0pFz6PF9WzX1b+LbelllRdIEg7cDT/FxHkQgJuiisPSDEe3HK3hZ3uFnQ40pXfuFv8muHsgN4iwYMtwP7M0R/qAPIrMZIDqIPA3QFSIiAIiIAiIgCIiAtVUubG925jjyBKimFo9q3+IZc2lmP0W5m3utXhiKzQgJIF6iIAiIgCIiAIiIAiIgC8svUQFJjG5UGnB2K6iAxnUDTsVl+SWnYFnogNPJkBp2BYkuGWnYpGiAiEuFBuWFLhPuU8sqSwIDnMuFnDYsc5EkZ2S9vAkei6YYBuVt1E07EBztlRVx9maXgSSORWRHiisZrc1/8mj1FlN35LadgWPJkJp2BARqLHsw7cMbuBc37rNi6QmfrhkbwId9lmy4aadiw5cKjcgMyHHFM7W57P5NPtdZ0OIqd+qeLxOb6qMy4TWFLhU7kB0GOoa7sua7gQfRXFzB2Hnt1XHDQvWNqY+zLMP6j7oCZYwktT2+aRg87+yqw/HZg4KJNqKibNbK8vaHXFwL31awFN8kxZrBwQGwREQBERAEREAREQBERAEREAREQBERAEREAREQBERAEREAREQHhaFSYRuVaICw6kaditPya07FmIgMBuSmg6gsyNlgq0QBERAEREB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6" name="AutoShape 4" descr="data:image/jpeg;base64,/9j/4AAQSkZJRgABAQAAAQABAAD/2wCEAAkGBhQQEBASEhIPEBAWEBIQEA8UFRQPEBIQFBAVFBQQEhIXGyYeFxkjGRIUHy8gIycpLCwsFR4xNTAqNSYrLCkBCQoKDgwOGg8PGiklHyQtKTQpLDA1KiksLC0sLCw1NSwqLCwvLDQsLC0pLCotLCwsKSwsLCwsLCwsLCksLCwpKf/AABEIAMsA+AMBIgACEQEDEQH/xAAcAAEAAQUBAQAAAAAAAAAAAAAABgIDBAUHAQj/xAA+EAABAwIBCAgEBQMDBQAAAAABAAIDBBEGBRIhMUFRcZEHEzJhgaGxwSJSYtEUI0JDcoKSojPh4hVTwvDx/8QAGgEBAAIDAQAAAAAAAAAAAAAAAAUGAgMEAf/EACwRAAICAgEDAgUEAwEAAAAAAAABAgMEETEFEiETQVFhcaHxQoGRwTKx0SL/2gAMAwEAAhEDEQA/AO4oiIAiIgCK26oaDYkA/wDu1etlB1EHgQUBWiIgCIiAIiIAiIgCIiAIiIAiIgCIiAIiIAiIgCIiAIiIAiIgCIiAIi8KAt05vnHe8+QA9lW6IHWAeIBVukHwDvu7+4k+6vIC1+GbutwJb6J1O5zx439QVdRAWsx3zA8R9il3bmnxI8rK6iAtdadrHeFj7p+IG3OHFp9bK6qTIN45oCkTtP6m81cXhAO4+at/hm7gOHw+iAuorXUbi4eJPqnVu2O5gH0sgLqK18f0Hm37p1jtrT4EH1sgLqK11+8OHgT6L0VDfmHjo9UBcReB19WleoAiIgCIiAIiIAiIgCIiAIiIArdQ6zXHuPoris1XZtvIHNwCAuRtsANwA8lUiIAiKN40xnHk6K+h87geqivr+p25oXqWzKMXJ6RtMtZfho4+snkbG3YNbnHc1uslcyy70ySvJbSxtib/AN2T4nnvDdQ81BMr5Zlq5TLO8vedXytHytGwLCW5QS5JWrEjHzLyzbV2LKuc/mVM57g4sbybZa41b/nk/ud91aRZnWopcIzaXLc8RvHPOw9z3W5XspNknpXrIbB5ZUM2h4s+3c8KGIjSZjKuEuUd3w10l01YQwkwTH9t/ZJ3MfqKly+Wl0bAHSU6JzKarcXRGzY5jpdGdgedre/YtUofAj7sTS7ofwdfReNdcXGkawVRUzBjHOOoNJ5BaW0ltnAlt6Li8IXPP+uTZxIkeLkm17gX2WWVFiqdv6mu4tHsoSPW6Hymv4JN9Mt9mibGnaf0t5aea8/DjYXD+oqPZIxPJNKyMsZp1uFxYDbZSZSmPk15Ee6vg4bqZ0vtmWuqOx58QD7JZ+9p8CPcqzXZUjhzesdm31aCdSpiy1C7VKznb1WburUu1yW/hsxVU2u5J6MjPd8oPA/eyddva8eF/RVMna7U5p4EFVrYmnwYa0WvxLd9uN2+qra8HUQeGlVKh0LTra0+AXp4VorLoAATpFgTocQOV7Kikqg5o03NhfjZAZKIiAIiIArM+tg+q/JpKvKy7TI3ua4+YH3QF5ERAYmVcpMpoZJpDZjGlx3m2oDvK+dcu5akrJ3zyH4nHQ3Yxn6WDuC6P0z5aIZBStPaPWyD6WmzRzvyXKFvrXjZLYdWo979wiIth3BFvcL4Onyg8iIBsYNnzO7De4bz3LoNP0KwBvx1E7nbS0NYL9w0rFySNFl8IPTZyFF0HEfRFLAx0lM8ztAuYyLS2Hy20O4Ln5H/AMXqafBnCyM1uLPERF6bDsvRLigzwuppHXkhALCdJdCTYcjo5KR4vrMyAMGt7reA0lcYwDlM0+UaZ17Nc/qn/wAXi3rZdpxdT51PnbWuB8DoKi+pKSx59vw/P2I704wyot8N/f8AJCERFQCwkowXR/6kp/g31KlSwci0fVQRt22ueJ0q/XVIije8/paT47FesOpY+Ok/ZbZVcmbuubXx0iF4orOsqHAamDMHHWfNaheveSSTrJJPErxUq6122Sm/dlmqgq4KK9j1riNRIPdoXRsk05jhjaSS7NBcTpNzpKhGQaPraiNuwHOdwbp9V0JWDolL1K1/RER1SzzGC+oREVjIYxMqzZkErt0bvRaXDUhc0XWfimXNpZO/NbzcPssbDcVmBAb9ERAEREAVlnbd3NaPMlXlZg1vP1W5AD2KAvIiIDgnSdW9ZlOfcwMiA4NufMqKrZYkqetrKp++eTkHWHotaupcFgrWoJfILJydQOnmihZ2nvawd1za/hrWMpj0UUuflJhtcMikf42DQfNG9IWS7YuR2bImR2UkEcEYs1rbd7nbXHvJWciLlIBvb2wuHdK2RW09dnsFmzM6wgag8GzuetdxXHOmetDquCMEExwuLu4vdoB8B5rOvk6sNv1PBz1ERdBMmTk51poSNYmjI454X0Xl4XpZf4L58w7SmWrpmDSTMzkDc+QX0BiWTNpZNlwGjxIXDnNKmW/g/wDRw3+bq0vj/ZAVn5Co+tqI27Ac93ALAWyyLlcUznOzM8kAXvawVBxuz1Y+o/G/JM3d3pvs5OgKOYyrLRsjGtxueDf917FjSM9pj28io/lzKInmLxfNsGtvuCsnUOoVSx3GqW2/H7ELiYlkbk5rSRr0RehtyANZNhxKqhPEswZR2a+U7TmDgNfqpKsbJtJ1UUbNzRfjtWSr9h0+jTGHy8/UqeTb6trkERF1Ggj2MpPyom/NKPIFZmQo7MHBavFr7y07Nwc7mQPZbzJbLMHBAZqIiAIiIAVZpezfeSebiq5XWaTuBPkkLbNaNzQPJAVqxXTZkUj/AJWOdyaSr60eNqrqsn1btX5LgOLtA9V6jKK20j54e/OJdvJdzN/dUoEXUWELpHQpS3nqpPljYwcXOJPoFzddf6FaW1NUSfNMG+DWD7rCfBz5T1UzoyLWYixBHQwOmlOgaGtHae86mtXFMRdIVVWFw6wwwnVDGc3R9TtblpjFsjKceVvlcHUcWdIsFE1zWObNUW+GJpuGnfI4auGtcPyhXvnlfLI7Oke4uce87B3BY6LfGKRK00RqXjkIirihc9zWtBc5xDWtGkknQAFkbia9EeRjNW9cR8ELC6+zrHfCByuV0jGlXZkce0nOPBur1VeC8ODJ1G1jrdYfzJ3fWRpF9wAso5lev6+Zz/06mj6RqVf6zkqFPYuZeP29zlx16+R3+0TCRZWTsnPncWstcC5voFlly4Ynb+jO4EFVOGPbOPdGLaJaV1cX2ykkzVIrtRSujNntLTa9ju3q0tLTT0zYmmtoL0FeIvD0zIsrzN1Sv53UiwxlOaZ7s92cxrdwuSdQuoip1haj6unaTrec88NgUz0p22Xpdz0vL8sjM9Vwqb0ts3CIit5XiI5bdnVoHysaOdz7qT0bbNCil8+tmO5+b/aAPZS6AfCEBcREQBERAWavskb7DmQPdXlZn1sH1jyufZXkAUM6WqnMya8fPJGzwzrn0UzXNemuqtBSx/NK5/g1v/JZR5N+Ot2ROSIiLpJ09XdeiqlzMmQn53SSc3aPRcJK+jcH0vVUFIzdAy/Ei59Vqs4OHNf/AIS+ZzTplykXVUMFzmMiD7b3vJ08hZc9U96Y6Mtro5LaHwAA97HEEeY5qBLOPBvx9elHQREWRvK4oi9wa0FzibNaBdxJ2ALsfR50efhLVFQAagj4GaxCD/5ei2mBcMUkEEU8DesdIwO699nP0jSBsbp3JiDEjruiju2xzXvOh3eG7uKj8zNhjw7pfk4HOeRL06/C92eYoy7nXhjOj9xw2/SFGURUTJyJ5FjnL8EzTTGmHbEmGDaPNjdIdbjYfxH+6kSiOT8WNiYxhiNmgC4PmsqpxfG6N4aHh5aQ240XPerPiZmLTQoKS8L7kHkY19lrk48s0GXKzrZ5HbAc1vALARFU7Juybm+WT8IqEVFexUxhcQBrJAHEqajCUJaLhwdYXIOs20laDC1H1lQCdTBn+OxTpWHpGHCdcp2RT3xv5ER1DIlCajB61yRyTBTNkjx3GxUhjYGgAagABwCqRTlONVS26462Rdl9lulN70EJRY+UJc2KR25jj/iV0GkieQvjle/e9x5uKmTBoCieFYtAKlwQBERAEREBZfpezuDj6D3V5WW6ZD3NA5kn2CvIAuP9NNVeppo/lhc48XO+wXYFwjpUqs/Kco+RkbP8bn1WdfJ2Ya3YRFERdBMFcMWc5jfmc1vNwHuvp2lizGMbua1vIAL50wpS9bXUjN87CeAOcfRfSC02EZnPzFES6S8N/jKNxYLzQ3lj3kAfGzxHouDr6lXBOkXDf4Ksdmi0Mt5YtwJPxM8D6pW/Y9wrf0P9iKoiLcSR1DoexLYvonnQbyQX3/rYPXmpTjDJliJmjQbNfx2O9lw6grXQSxyxmz2OD2nvB1cNi+iMl5QjyhRskGlkjPiHyu1ObxBUbn4qyKnD+PqcM28e5Wrh8kCRXqulMT3MdrabcdxWZTYfmkYJGNBadXxAHkVQ402Sk4xi21yialZCKUm1pmtRZsuRZ264n8QM4eSwljOuUPEk19fB7GcZf4vYREWBmXIahzNLXObwNlmR4gnb+448bFa9ZWTKTrZo2bC4X/iNa31TtUlGuTW/marIw03NInuSnvdCx0ml5Fzotr1eSy141tgB4L1X6Ee2KTe9FSk9tsLV4llzaWXvAb/c4BbRaHGMloGN+aVvkCVmYlvDMVmhSJajIMdmDgtugCIiAIiFAWYNbz9QHJo+5V5WaXs33ucf8iryAL5xxdVdbX1b987wODfh9l9GP1G2uxtxXz/lLBNcHyPdTSnOe5xLbP1uJ2LZWd+E0m22RxFlT5Lmj7cMrOLHD2WKdGvR5LeSieyWdF1Ln5Th+hsknJth6rvK470L02dV1Enywhvi5/8AxXYlos5IjMe7NfIKNdIGG/xtG9rR+cz82E7c4DS3xGjkpKiwT0csZOLTR8t28N479y8Uy6UMNfhasyMFoZrvG5sn62+/ioaulPa2T8JqcVJBdF6H8RmOZ9I8/BJd8W4SAaR4j0XOls8MzmOtpXDWKiPxu4C3mvJLaMbYKcGmdsxdkzOMT2j4i4RHvv2T6qQ0sAjY1g1NaByCqkiDrXF7EOHEaiq1GV40a7Z2r9WiHnc51xg/bZrcQVnVU7zqJGY3i5c/UjxnWXeyMamjOdxOryUcVX6td6mQ4riPj/pO9Pq7Kd/ELb4cySKiR2eCWNbpsbaTq0rUKc4Uo8yAOOt5z/DYtXTcdX3pSXheWZ5tzqqbXL4LMmDIjqdIO64Psr+ScONp5C8OLjm5ouLWvrW4RWuODjxkpxgk0QMsq6UXFy8BERdhzBRjGD7vp2d7nHyA91J1EsQOzqxjfljHmSUBvsksswcFnrGoW2aFkoAiIgCpkdYE911UrNYfgdwKA9phZjf4i/G2lXVZjqmHQHtPdcXV5AEREBS5gOsA8dKwqnINPJ24IXcWNvzss9EPU2uDX5Lw/BSl5giZEX2z80WvbUtgiIG2/LCIiHhosaYcFfSSRaBIPjicdkg1eB1eK+faukfC90cjXRyNNnMcLEH7L6fWtythynqv9eGOQ7HEWcP6hpWcZ6OvHyfS8Pg+bFOei/Cb6ipZUvaRTxHODiLZ8g7IbvA13XRqbo3oI3Zwp2uN7gOLnjkTZSSOINAa0BrRoDQLADcAFlKz4G63MUo6iipeOdYEnUBcr1Y+UKd0kT2NIaXC2drtvWibai2ltnBFJtJnPcoVXWyvfvcbcNnksdb6XB0w1Ojd4kLElw5UN/bJ4EFUW3EyduUoP+C0wyKdJRkjCpKcySMYNbnAffyXSoow1oaNQAA4BRTCuSXNmc+Rjm5rfhuLfEd3gparD0bHddbnJeW/siI6lcpzUVwv7CIimyLCIiAKHTnPrpTucG8mgKYqF5IOfPK7fI4/5FAS+nFmhXVTGNAVSAIiIArVQ27SrqICCZayO5ziRdattJUR9mSVvBzvuulPpwditOye07EBAY8tVjP3XH+QDvULJjxrVN7TIn/0lp8ipc/IzTsCxZMPNOwIDTRdIJHbg/td9ws2HH8B7TZWeAcPIr2XC7TsWHLhMbkBuYcXUrv3Q3ucHN9Qs+HKkT+zLE7g5v3UKlwodyw5cMOGxAdKDr6tK9XLxkyaPsukbwcQrzMo1keqaQ8fi9UB0pFz6PF9WzX1b+LbelllRdIEg7cDT/FxHkQgJuiisPSDEe3HK3hZ3uFnQ40pXfuFv8muHsgN4iwYMtwP7M0R/qAPIrMZIDqIPA3QFSIiAIiIAiIgCIiAtVUubG925jjyBKimFo9q3+IZc2lmP0W5m3utXhiKzQgJIF6iIAiIgCIiAIiIAiIgC8svUQFJjG5UGnB2K6iAxnUDTsVl+SWnYFnogNPJkBp2BYkuGWnYpGiAiEuFBuWFLhPuU8sqSwIDnMuFnDYsc5EkZ2S9vAkei6YYBuVt1E07EBztlRVx9maXgSSORWRHiisZrc1/8mj1FlN35LadgWPJkJp2BARqLHsw7cMbuBc37rNi6QmfrhkbwId9lmy4aadiw5cKjcgMyHHFM7W57P5NPtdZ0OIqd+qeLxOb6qMy4TWFLhU7kB0GOoa7sua7gQfRXFzB2Hnt1XHDQvWNqY+zLMP6j7oCZYwktT2+aRg87+yqw/HZg4KJNqKibNbK8vaHXFwL31awFN8kxZrBwQGwREQBERAEREAREQBERAEREAREQBERAEREAREQBERAEREAREQHhaFSYRuVaICw6kaditPya07FmIgMBuSmg6gsyNlgq0QBERAEREB//9k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653" y="1892502"/>
            <a:ext cx="8394779" cy="4851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06728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395536" y="2132856"/>
            <a:ext cx="6157664" cy="4392488"/>
          </a:xfrm>
        </p:spPr>
        <p:txBody>
          <a:bodyPr/>
          <a:lstStyle/>
          <a:p>
            <a:r>
              <a:rPr lang="en-US" sz="2400" dirty="0" smtClean="0"/>
              <a:t>CSV is abandoned but </a:t>
            </a:r>
          </a:p>
          <a:p>
            <a:pPr marL="0" indent="0">
              <a:buNone/>
            </a:pPr>
            <a:r>
              <a:rPr lang="en-US" sz="2400" b="1" dirty="0">
                <a:solidFill>
                  <a:srgbClr val="FF0000"/>
                </a:solidFill>
              </a:rPr>
              <a:t>	</a:t>
            </a:r>
            <a:r>
              <a:rPr lang="en-US" sz="2400" b="1" dirty="0" smtClean="0">
                <a:solidFill>
                  <a:srgbClr val="FF0000"/>
                </a:solidFill>
              </a:rPr>
              <a:t>Deadline is unchanged !</a:t>
            </a:r>
          </a:p>
          <a:p>
            <a:r>
              <a:rPr lang="en-US" sz="2400" dirty="0" smtClean="0"/>
              <a:t>Back to “One product per line”</a:t>
            </a:r>
          </a:p>
          <a:p>
            <a:r>
              <a:rPr lang="en-US" sz="2400" dirty="0" smtClean="0"/>
              <a:t>Cherries discount is now 30 cents</a:t>
            </a:r>
          </a:p>
          <a:p>
            <a:r>
              <a:rPr lang="en-US" sz="2400" dirty="0" smtClean="0"/>
              <a:t>New offer : for one Banana pack, the second is fre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FC98-F726-4387-BD61-63831D042500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460375" y="1161913"/>
            <a:ext cx="8229600" cy="782960"/>
          </a:xfrm>
        </p:spPr>
        <p:txBody>
          <a:bodyPr/>
          <a:lstStyle/>
          <a:p>
            <a:r>
              <a:rPr lang="fr-FR" sz="3600" dirty="0" err="1" smtClean="0"/>
              <a:t>Iteration</a:t>
            </a:r>
            <a:r>
              <a:rPr lang="fr-FR" sz="3600" dirty="0" smtClean="0"/>
              <a:t> 3’</a:t>
            </a:r>
            <a:r>
              <a:rPr lang="fr-FR" sz="1800" dirty="0"/>
              <a:t/>
            </a:r>
            <a:br>
              <a:rPr lang="fr-FR" sz="1800" dirty="0"/>
            </a:br>
            <a:endParaRPr lang="fr-FR" sz="1800" dirty="0"/>
          </a:p>
        </p:txBody>
      </p:sp>
      <p:sp>
        <p:nvSpPr>
          <p:cNvPr id="5" name="AutoShape 2" descr="data:image/jpeg;base64,/9j/4AAQSkZJRgABAQAAAQABAAD/2wCEAAkGBhQQEBASEhIPEBAWEBIQEA8UFRQPEBIQFBAVFBQQEhIXGyYeFxkjGRIUHy8gIycpLCwsFR4xNTAqNSYrLCkBCQoKDgwOGg8PGiklHyQtKTQpLDA1KiksLC0sLCw1NSwqLCwvLDQsLC0pLCotLCwsKSwsLCwsLCwsLCksLCwpKf/AABEIAMsA+AMBIgACEQEDEQH/xAAcAAEAAQUBAQAAAAAAAAAAAAAABgIDBAUHAQj/xAA+EAABAwIBCAgEBQMDBQAAAAABAAIDBBEGBRIhMUFRcZEHEzJhgaGxwSJSYtEUI0JDcoKSojPh4hVTwvDx/8QAGgEBAAIDAQAAAAAAAAAAAAAAAAUGAgMEAf/EACwRAAICAgEDAgUEAwEAAAAAAAABAgMEETEFEiETQVFhcaHxQoGRwTKx0SL/2gAMAwEAAhEDEQA/AO4oiIAiIgCK26oaDYkA/wDu1etlB1EHgQUBWiIgCIiAIiIAiIgCIiAIiIAiIgCIiAIiIAiIgCIiAIiIAiIgCIiAIi8KAt05vnHe8+QA9lW6IHWAeIBVukHwDvu7+4k+6vIC1+GbutwJb6J1O5zx439QVdRAWsx3zA8R9il3bmnxI8rK6iAtdadrHeFj7p+IG3OHFp9bK6qTIN45oCkTtP6m81cXhAO4+at/hm7gOHw+iAuorXUbi4eJPqnVu2O5gH0sgLqK18f0Hm37p1jtrT4EH1sgLqK11+8OHgT6L0VDfmHjo9UBcReB19WleoAiIgCIiAIiIAiIgCIiAIiIArdQ6zXHuPoris1XZtvIHNwCAuRtsANwA8lUiIAiKN40xnHk6K+h87geqivr+p25oXqWzKMXJ6RtMtZfho4+snkbG3YNbnHc1uslcyy70ySvJbSxtib/AN2T4nnvDdQ81BMr5Zlq5TLO8vedXytHytGwLCW5QS5JWrEjHzLyzbV2LKuc/mVM57g4sbybZa41b/nk/ud91aRZnWopcIzaXLc8RvHPOw9z3W5XspNknpXrIbB5ZUM2h4s+3c8KGIjSZjKuEuUd3w10l01YQwkwTH9t/ZJ3MfqKly+Wl0bAHSU6JzKarcXRGzY5jpdGdgedre/YtUofAj7sTS7ofwdfReNdcXGkawVRUzBjHOOoNJ5BaW0ltnAlt6Li8IXPP+uTZxIkeLkm17gX2WWVFiqdv6mu4tHsoSPW6Hymv4JN9Mt9mibGnaf0t5aea8/DjYXD+oqPZIxPJNKyMsZp1uFxYDbZSZSmPk15Ee6vg4bqZ0vtmWuqOx58QD7JZ+9p8CPcqzXZUjhzesdm31aCdSpiy1C7VKznb1WburUu1yW/hsxVU2u5J6MjPd8oPA/eyddva8eF/RVMna7U5p4EFVrYmnwYa0WvxLd9uN2+qra8HUQeGlVKh0LTra0+AXp4VorLoAATpFgTocQOV7Kikqg5o03NhfjZAZKIiAIiIArM+tg+q/JpKvKy7TI3ua4+YH3QF5ERAYmVcpMpoZJpDZjGlx3m2oDvK+dcu5akrJ3zyH4nHQ3Yxn6WDuC6P0z5aIZBStPaPWyD6WmzRzvyXKFvrXjZLYdWo979wiIth3BFvcL4Onyg8iIBsYNnzO7De4bz3LoNP0KwBvx1E7nbS0NYL9w0rFySNFl8IPTZyFF0HEfRFLAx0lM8ztAuYyLS2Hy20O4Ln5H/AMXqafBnCyM1uLPERF6bDsvRLigzwuppHXkhALCdJdCTYcjo5KR4vrMyAMGt7reA0lcYwDlM0+UaZ17Nc/qn/wAXi3rZdpxdT51PnbWuB8DoKi+pKSx59vw/P2I704wyot8N/f8AJCERFQCwkowXR/6kp/g31KlSwci0fVQRt22ueJ0q/XVIije8/paT47FesOpY+Ok/ZbZVcmbuubXx0iF4orOsqHAamDMHHWfNaheveSSTrJJPErxUq6122Sm/dlmqgq4KK9j1riNRIPdoXRsk05jhjaSS7NBcTpNzpKhGQaPraiNuwHOdwbp9V0JWDolL1K1/RER1SzzGC+oREVjIYxMqzZkErt0bvRaXDUhc0XWfimXNpZO/NbzcPssbDcVmBAb9ERAEREAVlnbd3NaPMlXlZg1vP1W5AD2KAvIiIDgnSdW9ZlOfcwMiA4NufMqKrZYkqetrKp++eTkHWHotaupcFgrWoJfILJydQOnmihZ2nvawd1za/hrWMpj0UUuflJhtcMikf42DQfNG9IWS7YuR2bImR2UkEcEYs1rbd7nbXHvJWciLlIBvb2wuHdK2RW09dnsFmzM6wgag8GzuetdxXHOmetDquCMEExwuLu4vdoB8B5rOvk6sNv1PBz1ERdBMmTk51poSNYmjI454X0Xl4XpZf4L58w7SmWrpmDSTMzkDc+QX0BiWTNpZNlwGjxIXDnNKmW/g/wDRw3+bq0vj/ZAVn5Co+tqI27Ac93ALAWyyLlcUznOzM8kAXvawVBxuz1Y+o/G/JM3d3pvs5OgKOYyrLRsjGtxueDf917FjSM9pj28io/lzKInmLxfNsGtvuCsnUOoVSx3GqW2/H7ELiYlkbk5rSRr0RehtyANZNhxKqhPEswZR2a+U7TmDgNfqpKsbJtJ1UUbNzRfjtWSr9h0+jTGHy8/UqeTb6trkERF1Ggj2MpPyom/NKPIFZmQo7MHBavFr7y07Nwc7mQPZbzJbLMHBAZqIiAIiIAVZpezfeSebiq5XWaTuBPkkLbNaNzQPJAVqxXTZkUj/AJWOdyaSr60eNqrqsn1btX5LgOLtA9V6jKK20j54e/OJdvJdzN/dUoEXUWELpHQpS3nqpPljYwcXOJPoFzddf6FaW1NUSfNMG+DWD7rCfBz5T1UzoyLWYixBHQwOmlOgaGtHae86mtXFMRdIVVWFw6wwwnVDGc3R9TtblpjFsjKceVvlcHUcWdIsFE1zWObNUW+GJpuGnfI4auGtcPyhXvnlfLI7Oke4uce87B3BY6LfGKRK00RqXjkIirihc9zWtBc5xDWtGkknQAFkbia9EeRjNW9cR8ELC6+zrHfCByuV0jGlXZkce0nOPBur1VeC8ODJ1G1jrdYfzJ3fWRpF9wAso5lev6+Zz/06mj6RqVf6zkqFPYuZeP29zlx16+R3+0TCRZWTsnPncWstcC5voFlly4Ynb+jO4EFVOGPbOPdGLaJaV1cX2ykkzVIrtRSujNntLTa9ju3q0tLTT0zYmmtoL0FeIvD0zIsrzN1Sv53UiwxlOaZ7s92cxrdwuSdQuoip1haj6unaTrec88NgUz0p22Xpdz0vL8sjM9Vwqb0ts3CIit5XiI5bdnVoHysaOdz7qT0bbNCil8+tmO5+b/aAPZS6AfCEBcREQBERAWavskb7DmQPdXlZn1sH1jyufZXkAUM6WqnMya8fPJGzwzrn0UzXNemuqtBSx/NK5/g1v/JZR5N+Ot2ROSIiLpJ09XdeiqlzMmQn53SSc3aPRcJK+jcH0vVUFIzdAy/Ei59Vqs4OHNf/AIS+ZzTplykXVUMFzmMiD7b3vJ08hZc9U96Y6Mtro5LaHwAA97HEEeY5qBLOPBvx9elHQREWRvK4oi9wa0FzibNaBdxJ2ALsfR50efhLVFQAagj4GaxCD/5ei2mBcMUkEEU8DesdIwO699nP0jSBsbp3JiDEjruiju2xzXvOh3eG7uKj8zNhjw7pfk4HOeRL06/C92eYoy7nXhjOj9xw2/SFGURUTJyJ5FjnL8EzTTGmHbEmGDaPNjdIdbjYfxH+6kSiOT8WNiYxhiNmgC4PmsqpxfG6N4aHh5aQ240XPerPiZmLTQoKS8L7kHkY19lrk48s0GXKzrZ5HbAc1vALARFU7Juybm+WT8IqEVFexUxhcQBrJAHEqajCUJaLhwdYXIOs20laDC1H1lQCdTBn+OxTpWHpGHCdcp2RT3xv5ER1DIlCajB61yRyTBTNkjx3GxUhjYGgAagABwCqRTlONVS26462Rdl9lulN70EJRY+UJc2KR25jj/iV0GkieQvjle/e9x5uKmTBoCieFYtAKlwQBERAEREBZfpezuDj6D3V5WW6ZD3NA5kn2CvIAuP9NNVeppo/lhc48XO+wXYFwjpUqs/Kco+RkbP8bn1WdfJ2Ya3YRFERdBMFcMWc5jfmc1vNwHuvp2lizGMbua1vIAL50wpS9bXUjN87CeAOcfRfSC02EZnPzFES6S8N/jKNxYLzQ3lj3kAfGzxHouDr6lXBOkXDf4Ksdmi0Mt5YtwJPxM8D6pW/Y9wrf0P9iKoiLcSR1DoexLYvonnQbyQX3/rYPXmpTjDJliJmjQbNfx2O9lw6grXQSxyxmz2OD2nvB1cNi+iMl5QjyhRskGlkjPiHyu1ObxBUbn4qyKnD+PqcM28e5Wrh8kCRXqulMT3MdrabcdxWZTYfmkYJGNBadXxAHkVQ402Sk4xi21yialZCKUm1pmtRZsuRZ264n8QM4eSwljOuUPEk19fB7GcZf4vYREWBmXIahzNLXObwNlmR4gnb+448bFa9ZWTKTrZo2bC4X/iNa31TtUlGuTW/marIw03NInuSnvdCx0ml5Fzotr1eSy141tgB4L1X6Ee2KTe9FSk9tsLV4llzaWXvAb/c4BbRaHGMloGN+aVvkCVmYlvDMVmhSJajIMdmDgtugCIiAIiFAWYNbz9QHJo+5V5WaXs33ucf8iryAL5xxdVdbX1b987wODfh9l9GP1G2uxtxXz/lLBNcHyPdTSnOe5xLbP1uJ2LZWd+E0m22RxFlT5Lmj7cMrOLHD2WKdGvR5LeSieyWdF1Ln5Th+hsknJth6rvK470L02dV1Enywhvi5/8AxXYlos5IjMe7NfIKNdIGG/xtG9rR+cz82E7c4DS3xGjkpKiwT0csZOLTR8t28N479y8Uy6UMNfhasyMFoZrvG5sn62+/ioaulPa2T8JqcVJBdF6H8RmOZ9I8/BJd8W4SAaR4j0XOls8MzmOtpXDWKiPxu4C3mvJLaMbYKcGmdsxdkzOMT2j4i4RHvv2T6qQ0sAjY1g1NaByCqkiDrXF7EOHEaiq1GV40a7Z2r9WiHnc51xg/bZrcQVnVU7zqJGY3i5c/UjxnWXeyMamjOdxOryUcVX6td6mQ4riPj/pO9Pq7Kd/ELb4cySKiR2eCWNbpsbaTq0rUKc4Uo8yAOOt5z/DYtXTcdX3pSXheWZ5tzqqbXL4LMmDIjqdIO64Psr+ScONp5C8OLjm5ouLWvrW4RWuODjxkpxgk0QMsq6UXFy8BERdhzBRjGD7vp2d7nHyA91J1EsQOzqxjfljHmSUBvsksswcFnrGoW2aFkoAiIgCpkdYE911UrNYfgdwKA9phZjf4i/G2lXVZjqmHQHtPdcXV5AEREBS5gOsA8dKwqnINPJ24IXcWNvzss9EPU2uDX5Lw/BSl5giZEX2z80WvbUtgiIG2/LCIiHhosaYcFfSSRaBIPjicdkg1eB1eK+faukfC90cjXRyNNnMcLEH7L6fWtythynqv9eGOQ7HEWcP6hpWcZ6OvHyfS8Pg+bFOei/Cb6ipZUvaRTxHODiLZ8g7IbvA13XRqbo3oI3Zwp2uN7gOLnjkTZSSOINAa0BrRoDQLADcAFlKz4G63MUo6iipeOdYEnUBcr1Y+UKd0kT2NIaXC2drtvWibai2ltnBFJtJnPcoVXWyvfvcbcNnksdb6XB0w1Ojd4kLElw5UN/bJ4EFUW3EyduUoP+C0wyKdJRkjCpKcySMYNbnAffyXSoow1oaNQAA4BRTCuSXNmc+Rjm5rfhuLfEd3gparD0bHddbnJeW/siI6lcpzUVwv7CIimyLCIiAKHTnPrpTucG8mgKYqF5IOfPK7fI4/5FAS+nFmhXVTGNAVSAIiIArVQ27SrqICCZayO5ziRdattJUR9mSVvBzvuulPpwditOye07EBAY8tVjP3XH+QDvULJjxrVN7TIn/0lp8ipc/IzTsCxZMPNOwIDTRdIJHbg/td9ws2HH8B7TZWeAcPIr2XC7TsWHLhMbkBuYcXUrv3Q3ucHN9Qs+HKkT+zLE7g5v3UKlwodyw5cMOGxAdKDr6tK9XLxkyaPsukbwcQrzMo1keqaQ8fi9UB0pFz6PF9WzX1b+LbelllRdIEg7cDT/FxHkQgJuiisPSDEe3HK3hZ3uFnQ40pXfuFv8muHsgN4iwYMtwP7M0R/qAPIrMZIDqIPA3QFSIiAIiIAiIgCIiAtVUubG925jjyBKimFo9q3+IZc2lmP0W5m3utXhiKzQgJIF6iIAiIgCIiAIiIAiIgC8svUQFJjG5UGnB2K6iAxnUDTsVl+SWnYFnogNPJkBp2BYkuGWnYpGiAiEuFBuWFLhPuU8sqSwIDnMuFnDYsc5EkZ2S9vAkei6YYBuVt1E07EBztlRVx9maXgSSORWRHiisZrc1/8mj1FlN35LadgWPJkJp2BARqLHsw7cMbuBc37rNi6QmfrhkbwId9lmy4aadiw5cKjcgMyHHFM7W57P5NPtdZ0OIqd+qeLxOb6qMy4TWFLhU7kB0GOoa7sua7gQfRXFzB2Hnt1XHDQvWNqY+zLMP6j7oCZYwktT2+aRg87+yqw/HZg4KJNqKibNbK8vaHXFwL31awFN8kxZrBwQGwREQBERAEREAREQBERAEREAREQBERAEREAREQBERAEREAREQHhaFSYRuVaICw6kaditPya07FmIgMBuSmg6gsyNlgq0QBERAEREB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6" name="AutoShape 4" descr="data:image/jpeg;base64,/9j/4AAQSkZJRgABAQAAAQABAAD/2wCEAAkGBhQQEBASEhIPEBAWEBIQEA8UFRQPEBIQFBAVFBQQEhIXGyYeFxkjGRIUHy8gIycpLCwsFR4xNTAqNSYrLCkBCQoKDgwOGg8PGiklHyQtKTQpLDA1KiksLC0sLCw1NSwqLCwvLDQsLC0pLCotLCwsKSwsLCwsLCwsLCksLCwpKf/AABEIAMsA+AMBIgACEQEDEQH/xAAcAAEAAQUBAQAAAAAAAAAAAAAABgIDBAUHAQj/xAA+EAABAwIBCAgEBQMDBQAAAAABAAIDBBEGBRIhMUFRcZEHEzJhgaGxwSJSYtEUI0JDcoKSojPh4hVTwvDx/8QAGgEBAAIDAQAAAAAAAAAAAAAAAAUGAgMEAf/EACwRAAICAgEDAgUEAwEAAAAAAAABAgMEETEFEiETQVFhcaHxQoGRwTKx0SL/2gAMAwEAAhEDEQA/AO4oiIAiIgCK26oaDYkA/wDu1etlB1EHgQUBWiIgCIiAIiIAiIgCIiAIiIAiIgCIiAIiIAiIgCIiAIiIAiIgCIiAIi8KAt05vnHe8+QA9lW6IHWAeIBVukHwDvu7+4k+6vIC1+GbutwJb6J1O5zx439QVdRAWsx3zA8R9il3bmnxI8rK6iAtdadrHeFj7p+IG3OHFp9bK6qTIN45oCkTtP6m81cXhAO4+at/hm7gOHw+iAuorXUbi4eJPqnVu2O5gH0sgLqK18f0Hm37p1jtrT4EH1sgLqK11+8OHgT6L0VDfmHjo9UBcReB19WleoAiIgCIiAIiIAiIgCIiAIiIArdQ6zXHuPoris1XZtvIHNwCAuRtsANwA8lUiIAiKN40xnHk6K+h87geqivr+p25oXqWzKMXJ6RtMtZfho4+snkbG3YNbnHc1uslcyy70ySvJbSxtib/AN2T4nnvDdQ81BMr5Zlq5TLO8vedXytHytGwLCW5QS5JWrEjHzLyzbV2LKuc/mVM57g4sbybZa41b/nk/ud91aRZnWopcIzaXLc8RvHPOw9z3W5XspNknpXrIbB5ZUM2h4s+3c8KGIjSZjKuEuUd3w10l01YQwkwTH9t/ZJ3MfqKly+Wl0bAHSU6JzKarcXRGzY5jpdGdgedre/YtUofAj7sTS7ofwdfReNdcXGkawVRUzBjHOOoNJ5BaW0ltnAlt6Li8IXPP+uTZxIkeLkm17gX2WWVFiqdv6mu4tHsoSPW6Hymv4JN9Mt9mibGnaf0t5aea8/DjYXD+oqPZIxPJNKyMsZp1uFxYDbZSZSmPk15Ee6vg4bqZ0vtmWuqOx58QD7JZ+9p8CPcqzXZUjhzesdm31aCdSpiy1C7VKznb1WburUu1yW/hsxVU2u5J6MjPd8oPA/eyddva8eF/RVMna7U5p4EFVrYmnwYa0WvxLd9uN2+qra8HUQeGlVKh0LTra0+AXp4VorLoAATpFgTocQOV7Kikqg5o03NhfjZAZKIiAIiIArM+tg+q/JpKvKy7TI3ua4+YH3QF5ERAYmVcpMpoZJpDZjGlx3m2oDvK+dcu5akrJ3zyH4nHQ3Yxn6WDuC6P0z5aIZBStPaPWyD6WmzRzvyXKFvrXjZLYdWo979wiIth3BFvcL4Onyg8iIBsYNnzO7De4bz3LoNP0KwBvx1E7nbS0NYL9w0rFySNFl8IPTZyFF0HEfRFLAx0lM8ztAuYyLS2Hy20O4Ln5H/AMXqafBnCyM1uLPERF6bDsvRLigzwuppHXkhALCdJdCTYcjo5KR4vrMyAMGt7reA0lcYwDlM0+UaZ17Nc/qn/wAXi3rZdpxdT51PnbWuB8DoKi+pKSx59vw/P2I704wyot8N/f8AJCERFQCwkowXR/6kp/g31KlSwci0fVQRt22ueJ0q/XVIije8/paT47FesOpY+Ok/ZbZVcmbuubXx0iF4orOsqHAamDMHHWfNaheveSSTrJJPErxUq6122Sm/dlmqgq4KK9j1riNRIPdoXRsk05jhjaSS7NBcTpNzpKhGQaPraiNuwHOdwbp9V0JWDolL1K1/RER1SzzGC+oREVjIYxMqzZkErt0bvRaXDUhc0XWfimXNpZO/NbzcPssbDcVmBAb9ERAEREAVlnbd3NaPMlXlZg1vP1W5AD2KAvIiIDgnSdW9ZlOfcwMiA4NufMqKrZYkqetrKp++eTkHWHotaupcFgrWoJfILJydQOnmihZ2nvawd1za/hrWMpj0UUuflJhtcMikf42DQfNG9IWS7YuR2bImR2UkEcEYs1rbd7nbXHvJWciLlIBvb2wuHdK2RW09dnsFmzM6wgag8GzuetdxXHOmetDquCMEExwuLu4vdoB8B5rOvk6sNv1PBz1ERdBMmTk51poSNYmjI454X0Xl4XpZf4L58w7SmWrpmDSTMzkDc+QX0BiWTNpZNlwGjxIXDnNKmW/g/wDRw3+bq0vj/ZAVn5Co+tqI27Ac93ALAWyyLlcUznOzM8kAXvawVBxuz1Y+o/G/JM3d3pvs5OgKOYyrLRsjGtxueDf917FjSM9pj28io/lzKInmLxfNsGtvuCsnUOoVSx3GqW2/H7ELiYlkbk5rSRr0RehtyANZNhxKqhPEswZR2a+U7TmDgNfqpKsbJtJ1UUbNzRfjtWSr9h0+jTGHy8/UqeTb6trkERF1Ggj2MpPyom/NKPIFZmQo7MHBavFr7y07Nwc7mQPZbzJbLMHBAZqIiAIiIAVZpezfeSebiq5XWaTuBPkkLbNaNzQPJAVqxXTZkUj/AJWOdyaSr60eNqrqsn1btX5LgOLtA9V6jKK20j54e/OJdvJdzN/dUoEXUWELpHQpS3nqpPljYwcXOJPoFzddf6FaW1NUSfNMG+DWD7rCfBz5T1UzoyLWYixBHQwOmlOgaGtHae86mtXFMRdIVVWFw6wwwnVDGc3R9TtblpjFsjKceVvlcHUcWdIsFE1zWObNUW+GJpuGnfI4auGtcPyhXvnlfLI7Oke4uce87B3BY6LfGKRK00RqXjkIirihc9zWtBc5xDWtGkknQAFkbia9EeRjNW9cR8ELC6+zrHfCByuV0jGlXZkce0nOPBur1VeC8ODJ1G1jrdYfzJ3fWRpF9wAso5lev6+Zz/06mj6RqVf6zkqFPYuZeP29zlx16+R3+0TCRZWTsnPncWstcC5voFlly4Ynb+jO4EFVOGPbOPdGLaJaV1cX2ykkzVIrtRSujNntLTa9ju3q0tLTT0zYmmtoL0FeIvD0zIsrzN1Sv53UiwxlOaZ7s92cxrdwuSdQuoip1haj6unaTrec88NgUz0p22Xpdz0vL8sjM9Vwqb0ts3CIit5XiI5bdnVoHysaOdz7qT0bbNCil8+tmO5+b/aAPZS6AfCEBcREQBERAWavskb7DmQPdXlZn1sH1jyufZXkAUM6WqnMya8fPJGzwzrn0UzXNemuqtBSx/NK5/g1v/JZR5N+Ot2ROSIiLpJ09XdeiqlzMmQn53SSc3aPRcJK+jcH0vVUFIzdAy/Ei59Vqs4OHNf/AIS+ZzTplykXVUMFzmMiD7b3vJ08hZc9U96Y6Mtro5LaHwAA97HEEeY5qBLOPBvx9elHQREWRvK4oi9wa0FzibNaBdxJ2ALsfR50efhLVFQAagj4GaxCD/5ei2mBcMUkEEU8DesdIwO699nP0jSBsbp3JiDEjruiju2xzXvOh3eG7uKj8zNhjw7pfk4HOeRL06/C92eYoy7nXhjOj9xw2/SFGURUTJyJ5FjnL8EzTTGmHbEmGDaPNjdIdbjYfxH+6kSiOT8WNiYxhiNmgC4PmsqpxfG6N4aHh5aQ240XPerPiZmLTQoKS8L7kHkY19lrk48s0GXKzrZ5HbAc1vALARFU7Juybm+WT8IqEVFexUxhcQBrJAHEqajCUJaLhwdYXIOs20laDC1H1lQCdTBn+OxTpWHpGHCdcp2RT3xv5ER1DIlCajB61yRyTBTNkjx3GxUhjYGgAagABwCqRTlONVS26462Rdl9lulN70EJRY+UJc2KR25jj/iV0GkieQvjle/e9x5uKmTBoCieFYtAKlwQBERAEREBZfpezuDj6D3V5WW6ZD3NA5kn2CvIAuP9NNVeppo/lhc48XO+wXYFwjpUqs/Kco+RkbP8bn1WdfJ2Ya3YRFERdBMFcMWc5jfmc1vNwHuvp2lizGMbua1vIAL50wpS9bXUjN87CeAOcfRfSC02EZnPzFES6S8N/jKNxYLzQ3lj3kAfGzxHouDr6lXBOkXDf4Ksdmi0Mt5YtwJPxM8D6pW/Y9wrf0P9iKoiLcSR1DoexLYvonnQbyQX3/rYPXmpTjDJliJmjQbNfx2O9lw6grXQSxyxmz2OD2nvB1cNi+iMl5QjyhRskGlkjPiHyu1ObxBUbn4qyKnD+PqcM28e5Wrh8kCRXqulMT3MdrabcdxWZTYfmkYJGNBadXxAHkVQ402Sk4xi21yialZCKUm1pmtRZsuRZ264n8QM4eSwljOuUPEk19fB7GcZf4vYREWBmXIahzNLXObwNlmR4gnb+448bFa9ZWTKTrZo2bC4X/iNa31TtUlGuTW/marIw03NInuSnvdCx0ml5Fzotr1eSy141tgB4L1X6Ee2KTe9FSk9tsLV4llzaWXvAb/c4BbRaHGMloGN+aVvkCVmYlvDMVmhSJajIMdmDgtugCIiAIiFAWYNbz9QHJo+5V5WaXs33ucf8iryAL5xxdVdbX1b987wODfh9l9GP1G2uxtxXz/lLBNcHyPdTSnOe5xLbP1uJ2LZWd+E0m22RxFlT5Lmj7cMrOLHD2WKdGvR5LeSieyWdF1Ln5Th+hsknJth6rvK470L02dV1Enywhvi5/8AxXYlos5IjMe7NfIKNdIGG/xtG9rR+cz82E7c4DS3xGjkpKiwT0csZOLTR8t28N479y8Uy6UMNfhasyMFoZrvG5sn62+/ioaulPa2T8JqcVJBdF6H8RmOZ9I8/BJd8W4SAaR4j0XOls8MzmOtpXDWKiPxu4C3mvJLaMbYKcGmdsxdkzOMT2j4i4RHvv2T6qQ0sAjY1g1NaByCqkiDrXF7EOHEaiq1GV40a7Z2r9WiHnc51xg/bZrcQVnVU7zqJGY3i5c/UjxnWXeyMamjOdxOryUcVX6td6mQ4riPj/pO9Pq7Kd/ELb4cySKiR2eCWNbpsbaTq0rUKc4Uo8yAOOt5z/DYtXTcdX3pSXheWZ5tzqqbXL4LMmDIjqdIO64Psr+ScONp5C8OLjm5ouLWvrW4RWuODjxkpxgk0QMsq6UXFy8BERdhzBRjGD7vp2d7nHyA91J1EsQOzqxjfljHmSUBvsksswcFnrGoW2aFkoAiIgCpkdYE911UrNYfgdwKA9phZjf4i/G2lXVZjqmHQHtPdcXV5AEREBS5gOsA8dKwqnINPJ24IXcWNvzss9EPU2uDX5Lw/BSl5giZEX2z80WvbUtgiIG2/LCIiHhosaYcFfSSRaBIPjicdkg1eB1eK+faukfC90cjXRyNNnMcLEH7L6fWtythynqv9eGOQ7HEWcP6hpWcZ6OvHyfS8Pg+bFOei/Cb6ipZUvaRTxHODiLZ8g7IbvA13XRqbo3oI3Zwp2uN7gOLnjkTZSSOINAa0BrRoDQLADcAFlKz4G63MUo6iipeOdYEnUBcr1Y+UKd0kT2NIaXC2drtvWibai2ltnBFJtJnPcoVXWyvfvcbcNnksdb6XB0w1Ojd4kLElw5UN/bJ4EFUW3EyduUoP+C0wyKdJRkjCpKcySMYNbnAffyXSoow1oaNQAA4BRTCuSXNmc+Rjm5rfhuLfEd3gparD0bHddbnJeW/siI6lcpzUVwv7CIimyLCIiAKHTnPrpTucG8mgKYqF5IOfPK7fI4/5FAS+nFmhXVTGNAVSAIiIArVQ27SrqICCZayO5ziRdattJUR9mSVvBzvuulPpwditOye07EBAY8tVjP3XH+QDvULJjxrVN7TIn/0lp8ipc/IzTsCxZMPNOwIDTRdIJHbg/td9ws2HH8B7TZWeAcPIr2XC7TsWHLhMbkBuYcXUrv3Q3ucHN9Qs+HKkT+zLE7g5v3UKlwodyw5cMOGxAdKDr6tK9XLxkyaPsukbwcQrzMo1keqaQ8fi9UB0pFz6PF9WzX1b+LbelllRdIEg7cDT/FxHkQgJuiisPSDEe3HK3hZ3uFnQ40pXfuFv8muHsgN4iwYMtwP7M0R/qAPIrMZIDqIPA3QFSIiAIiIAiIgCIiAtVUubG925jjyBKimFo9q3+IZc2lmP0W5m3utXhiKzQgJIF6iIAiIgCIiAIiIAiIgC8svUQFJjG5UGnB2K6iAxnUDTsVl+SWnYFnogNPJkBp2BYkuGWnYpGiAiEuFBuWFLhPuU8sqSwIDnMuFnDYsc5EkZ2S9vAkei6YYBuVt1E07EBztlRVx9maXgSSORWRHiisZrc1/8mj1FlN35LadgWPJkJp2BARqLHsw7cMbuBc37rNi6QmfrhkbwId9lmy4aadiw5cKjcgMyHHFM7W57P5NPtdZ0OIqd+qeLxOb6qMy4TWFLhU7kB0GOoa7sua7gQfRXFzB2Hnt1XHDQvWNqY+zLMP6j7oCZYwktT2+aRg87+yqw/HZg4KJNqKibNbK8vaHXFwL31awFN8kxZrBwQGwREQBERAEREAREQBERAEREAREQBERAEREAREQBERAEREAREQHhaFSYRuVaICw6kaditPya07FmIgMBuSmg6gsyNlgq0QBERAEREB//9k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3074" name="Picture 2" descr="http://simpleicon.com/wp-content/uploads/stopwatch-1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262787" y="1196752"/>
            <a:ext cx="765597" cy="765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ZoneTexte 6"/>
          <p:cNvSpPr txBox="1"/>
          <p:nvPr/>
        </p:nvSpPr>
        <p:spPr>
          <a:xfrm>
            <a:off x="8020490" y="1287162"/>
            <a:ext cx="74236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dirty="0" smtClean="0"/>
              <a:t>?</a:t>
            </a:r>
            <a:endParaRPr lang="fr-FR" sz="3200" dirty="0"/>
          </a:p>
        </p:txBody>
      </p:sp>
      <p:pic>
        <p:nvPicPr>
          <p:cNvPr id="6148" name="Picture 4" descr="http://www.icone-png.com/png/52/5235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6344" y="2132856"/>
            <a:ext cx="1827312" cy="1827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6562387" y="1797433"/>
            <a:ext cx="2122373" cy="255454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16000" b="1" cap="none" spc="0" dirty="0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X</a:t>
            </a:r>
            <a:endParaRPr lang="fr-FR" sz="160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44081" y="4685839"/>
            <a:ext cx="2896215" cy="2172161"/>
          </a:xfrm>
          <a:prstGeom prst="rect">
            <a:avLst/>
          </a:prstGeom>
        </p:spPr>
      </p:pic>
      <p:sp>
        <p:nvSpPr>
          <p:cNvPr id="13" name="ZoneTexte 12"/>
          <p:cNvSpPr txBox="1"/>
          <p:nvPr/>
        </p:nvSpPr>
        <p:spPr>
          <a:xfrm>
            <a:off x="395536" y="4462080"/>
            <a:ext cx="3107532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5088" lvl="1">
              <a:buSzPct val="100000"/>
            </a:pPr>
            <a:r>
              <a:rPr lang="fr-FR" sz="2000" b="1" dirty="0" smtClean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ests</a:t>
            </a:r>
            <a:endParaRPr lang="fr-FR" sz="2000" b="1" dirty="0">
              <a:solidFill>
                <a:schemeClr val="accent5">
                  <a:lumMod val="75000"/>
                </a:schemeClr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65088" lvl="1">
              <a:buSzPct val="100000"/>
            </a:pP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Cherries -&gt; 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75 </a:t>
            </a:r>
          </a:p>
          <a:p>
            <a:pPr marL="65088" lvl="1">
              <a:buSzPct val="100000"/>
            </a:pP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Cherries -&gt; 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120</a:t>
            </a:r>
          </a:p>
          <a:p>
            <a:pPr marL="65088" lvl="1">
              <a:buSzPct val="100000"/>
            </a:pP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Bananas 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-&gt; 270 </a:t>
            </a:r>
          </a:p>
          <a:p>
            <a:pPr marL="65088" lvl="1">
              <a:buSzPct val="100000"/>
            </a:pP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Bananas 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-&gt; 270 </a:t>
            </a:r>
          </a:p>
        </p:txBody>
      </p:sp>
      <p:sp>
        <p:nvSpPr>
          <p:cNvPr id="15" name="ZoneTexte 14"/>
          <p:cNvSpPr txBox="1"/>
          <p:nvPr/>
        </p:nvSpPr>
        <p:spPr>
          <a:xfrm>
            <a:off x="5724128" y="4096650"/>
            <a:ext cx="350513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5088" lvl="1">
              <a:buSzPct val="100000"/>
            </a:pPr>
            <a:r>
              <a:rPr lang="fr-FR" sz="2000" b="1" dirty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Tests </a:t>
            </a:r>
            <a:r>
              <a:rPr lang="fr-FR" sz="2000" b="1" dirty="0" smtClean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2</a:t>
            </a:r>
            <a:endParaRPr lang="fr-FR" sz="2000" b="1" dirty="0">
              <a:solidFill>
                <a:schemeClr val="accent5">
                  <a:lumMod val="75000"/>
                </a:schemeClr>
              </a:solidFill>
              <a:latin typeface="Consolas" panose="020B0609020204030204" pitchFamily="49" charset="0"/>
              <a:ea typeface="Anonymous Pro" panose="02060609030202000504" pitchFamily="49" charset="0"/>
              <a:cs typeface="Consolas" panose="020B0609020204030204" pitchFamily="49" charset="0"/>
            </a:endParaRPr>
          </a:p>
          <a:p>
            <a:pPr marL="65088" lvl="1">
              <a:buSzPct val="100000"/>
            </a:pP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Cherries -&gt; 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75 </a:t>
            </a:r>
          </a:p>
          <a:p>
            <a:pPr marL="65088" lvl="1">
              <a:buSzPct val="100000"/>
            </a:pP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 err="1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Apples</a:t>
            </a:r>
            <a:r>
              <a:rPr lang="fr-FR" sz="2000" b="1" dirty="0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 -&gt; 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175 </a:t>
            </a:r>
          </a:p>
          <a:p>
            <a:pPr marL="65088" lvl="1">
              <a:buSzPct val="100000"/>
            </a:pP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Cherries -&gt; 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220 </a:t>
            </a:r>
          </a:p>
          <a:p>
            <a:pPr marL="65088" lvl="1">
              <a:buSzPct val="100000"/>
            </a:pP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Bananas 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-&gt; 370 </a:t>
            </a:r>
          </a:p>
          <a:p>
            <a:pPr marL="65088" lvl="1">
              <a:buSzPct val="100000"/>
            </a:pP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 err="1"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Apples</a:t>
            </a:r>
            <a:r>
              <a:rPr lang="fr-FR" sz="2000" b="1" dirty="0"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 -&gt; 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470 </a:t>
            </a:r>
          </a:p>
          <a:p>
            <a:pPr marL="65088" lvl="1">
              <a:buSzPct val="100000"/>
            </a:pP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Bananas 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-&gt; 470 </a:t>
            </a:r>
          </a:p>
          <a:p>
            <a:pPr marL="65088" lvl="1">
              <a:buSzPct val="100000"/>
            </a:pP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Cherries -&gt; 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545</a:t>
            </a:r>
          </a:p>
        </p:txBody>
      </p:sp>
    </p:spTree>
    <p:extLst>
      <p:ext uri="{BB962C8B-B14F-4D97-AF65-F5344CB8AC3E}">
        <p14:creationId xmlns:p14="http://schemas.microsoft.com/office/powerpoint/2010/main" val="3454692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395536" y="2132856"/>
            <a:ext cx="6157664" cy="4392488"/>
          </a:xfrm>
        </p:spPr>
        <p:txBody>
          <a:bodyPr/>
          <a:lstStyle/>
          <a:p>
            <a:r>
              <a:rPr lang="en-US" sz="2400" dirty="0" smtClean="0"/>
              <a:t>Goal : Localization</a:t>
            </a:r>
          </a:p>
          <a:p>
            <a:r>
              <a:rPr lang="en-US" sz="2400" dirty="0" smtClean="0"/>
              <a:t>We must support “Pommes” and “</a:t>
            </a:r>
            <a:r>
              <a:rPr lang="en-US" sz="2400" dirty="0" err="1" smtClean="0"/>
              <a:t>Mele</a:t>
            </a:r>
            <a:r>
              <a:rPr lang="en-US" sz="2400" dirty="0" smtClean="0"/>
              <a:t>” for “Apples”</a:t>
            </a:r>
          </a:p>
          <a:p>
            <a:r>
              <a:rPr lang="en-US" sz="2400" dirty="0" smtClean="0"/>
              <a:t>Cherries discount is back to 20 cents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FC98-F726-4387-BD61-63831D042500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460375" y="1161913"/>
            <a:ext cx="8229600" cy="782960"/>
          </a:xfrm>
        </p:spPr>
        <p:txBody>
          <a:bodyPr/>
          <a:lstStyle/>
          <a:p>
            <a:r>
              <a:rPr lang="fr-FR" sz="3600" dirty="0" err="1" smtClean="0"/>
              <a:t>Iteration</a:t>
            </a:r>
            <a:r>
              <a:rPr lang="fr-FR" sz="3600" dirty="0" smtClean="0"/>
              <a:t> 4 </a:t>
            </a:r>
            <a:r>
              <a:rPr lang="fr-FR" sz="1800" dirty="0"/>
              <a:t/>
            </a:r>
            <a:br>
              <a:rPr lang="fr-FR" sz="1800" dirty="0"/>
            </a:br>
            <a:endParaRPr lang="fr-FR" sz="1800" dirty="0"/>
          </a:p>
        </p:txBody>
      </p:sp>
      <p:sp>
        <p:nvSpPr>
          <p:cNvPr id="5" name="AutoShape 2" descr="data:image/jpeg;base64,/9j/4AAQSkZJRgABAQAAAQABAAD/2wCEAAkGBhQQEBASEhIPEBAWEBIQEA8UFRQPEBIQFBAVFBQQEhIXGyYeFxkjGRIUHy8gIycpLCwsFR4xNTAqNSYrLCkBCQoKDgwOGg8PGiklHyQtKTQpLDA1KiksLC0sLCw1NSwqLCwvLDQsLC0pLCotLCwsKSwsLCwsLCwsLCksLCwpKf/AABEIAMsA+AMBIgACEQEDEQH/xAAcAAEAAQUBAQAAAAAAAAAAAAAABgIDBAUHAQj/xAA+EAABAwIBCAgEBQMDBQAAAAABAAIDBBEGBRIhMUFRcZEHEzJhgaGxwSJSYtEUI0JDcoKSojPh4hVTwvDx/8QAGgEBAAIDAQAAAAAAAAAAAAAAAAUGAgMEAf/EACwRAAICAgEDAgUEAwEAAAAAAAABAgMEETEFEiETQVFhcaHxQoGRwTKx0SL/2gAMAwEAAhEDEQA/AO4oiIAiIgCK26oaDYkA/wDu1etlB1EHgQUBWiIgCIiAIiIAiIgCIiAIiIAiIgCIiAIiIAiIgCIiAIiIAiIgCIiAIi8KAt05vnHe8+QA9lW6IHWAeIBVukHwDvu7+4k+6vIC1+GbutwJb6J1O5zx439QVdRAWsx3zA8R9il3bmnxI8rK6iAtdadrHeFj7p+IG3OHFp9bK6qTIN45oCkTtP6m81cXhAO4+at/hm7gOHw+iAuorXUbi4eJPqnVu2O5gH0sgLqK18f0Hm37p1jtrT4EH1sgLqK11+8OHgT6L0VDfmHjo9UBcReB19WleoAiIgCIiAIiIAiIgCIiAIiIArdQ6zXHuPoris1XZtvIHNwCAuRtsANwA8lUiIAiKN40xnHk6K+h87geqivr+p25oXqWzKMXJ6RtMtZfho4+snkbG3YNbnHc1uslcyy70ySvJbSxtib/AN2T4nnvDdQ81BMr5Zlq5TLO8vedXytHytGwLCW5QS5JWrEjHzLyzbV2LKuc/mVM57g4sbybZa41b/nk/ud91aRZnWopcIzaXLc8RvHPOw9z3W5XspNknpXrIbB5ZUM2h4s+3c8KGIjSZjKuEuUd3w10l01YQwkwTH9t/ZJ3MfqKly+Wl0bAHSU6JzKarcXRGzY5jpdGdgedre/YtUofAj7sTS7ofwdfReNdcXGkawVRUzBjHOOoNJ5BaW0ltnAlt6Li8IXPP+uTZxIkeLkm17gX2WWVFiqdv6mu4tHsoSPW6Hymv4JN9Mt9mibGnaf0t5aea8/DjYXD+oqPZIxPJNKyMsZp1uFxYDbZSZSmPk15Ee6vg4bqZ0vtmWuqOx58QD7JZ+9p8CPcqzXZUjhzesdm31aCdSpiy1C7VKznb1WburUu1yW/hsxVU2u5J6MjPd8oPA/eyddva8eF/RVMna7U5p4EFVrYmnwYa0WvxLd9uN2+qra8HUQeGlVKh0LTra0+AXp4VorLoAATpFgTocQOV7Kikqg5o03NhfjZAZKIiAIiIArM+tg+q/JpKvKy7TI3ua4+YH3QF5ERAYmVcpMpoZJpDZjGlx3m2oDvK+dcu5akrJ3zyH4nHQ3Yxn6WDuC6P0z5aIZBStPaPWyD6WmzRzvyXKFvrXjZLYdWo979wiIth3BFvcL4Onyg8iIBsYNnzO7De4bz3LoNP0KwBvx1E7nbS0NYL9w0rFySNFl8IPTZyFF0HEfRFLAx0lM8ztAuYyLS2Hy20O4Ln5H/AMXqafBnCyM1uLPERF6bDsvRLigzwuppHXkhALCdJdCTYcjo5KR4vrMyAMGt7reA0lcYwDlM0+UaZ17Nc/qn/wAXi3rZdpxdT51PnbWuB8DoKi+pKSx59vw/P2I704wyot8N/f8AJCERFQCwkowXR/6kp/g31KlSwci0fVQRt22ueJ0q/XVIije8/paT47FesOpY+Ok/ZbZVcmbuubXx0iF4orOsqHAamDMHHWfNaheveSSTrJJPErxUq6122Sm/dlmqgq4KK9j1riNRIPdoXRsk05jhjaSS7NBcTpNzpKhGQaPraiNuwHOdwbp9V0JWDolL1K1/RER1SzzGC+oREVjIYxMqzZkErt0bvRaXDUhc0XWfimXNpZO/NbzcPssbDcVmBAb9ERAEREAVlnbd3NaPMlXlZg1vP1W5AD2KAvIiIDgnSdW9ZlOfcwMiA4NufMqKrZYkqetrKp++eTkHWHotaupcFgrWoJfILJydQOnmihZ2nvawd1za/hrWMpj0UUuflJhtcMikf42DQfNG9IWS7YuR2bImR2UkEcEYs1rbd7nbXHvJWciLlIBvb2wuHdK2RW09dnsFmzM6wgag8GzuetdxXHOmetDquCMEExwuLu4vdoB8B5rOvk6sNv1PBz1ERdBMmTk51poSNYmjI454X0Xl4XpZf4L58w7SmWrpmDSTMzkDc+QX0BiWTNpZNlwGjxIXDnNKmW/g/wDRw3+bq0vj/ZAVn5Co+tqI27Ac93ALAWyyLlcUznOzM8kAXvawVBxuz1Y+o/G/JM3d3pvs5OgKOYyrLRsjGtxueDf917FjSM9pj28io/lzKInmLxfNsGtvuCsnUOoVSx3GqW2/H7ELiYlkbk5rSRr0RehtyANZNhxKqhPEswZR2a+U7TmDgNfqpKsbJtJ1UUbNzRfjtWSr9h0+jTGHy8/UqeTb6trkERF1Ggj2MpPyom/NKPIFZmQo7MHBavFr7y07Nwc7mQPZbzJbLMHBAZqIiAIiIAVZpezfeSebiq5XWaTuBPkkLbNaNzQPJAVqxXTZkUj/AJWOdyaSr60eNqrqsn1btX5LgOLtA9V6jKK20j54e/OJdvJdzN/dUoEXUWELpHQpS3nqpPljYwcXOJPoFzddf6FaW1NUSfNMG+DWD7rCfBz5T1UzoyLWYixBHQwOmlOgaGtHae86mtXFMRdIVVWFw6wwwnVDGc3R9TtblpjFsjKceVvlcHUcWdIsFE1zWObNUW+GJpuGnfI4auGtcPyhXvnlfLI7Oke4uce87B3BY6LfGKRK00RqXjkIirihc9zWtBc5xDWtGkknQAFkbia9EeRjNW9cR8ELC6+zrHfCByuV0jGlXZkce0nOPBur1VeC8ODJ1G1jrdYfzJ3fWRpF9wAso5lev6+Zz/06mj6RqVf6zkqFPYuZeP29zlx16+R3+0TCRZWTsnPncWstcC5voFlly4Ynb+jO4EFVOGPbOPdGLaJaV1cX2ykkzVIrtRSujNntLTa9ju3q0tLTT0zYmmtoL0FeIvD0zIsrzN1Sv53UiwxlOaZ7s92cxrdwuSdQuoip1haj6unaTrec88NgUz0p22Xpdz0vL8sjM9Vwqb0ts3CIit5XiI5bdnVoHysaOdz7qT0bbNCil8+tmO5+b/aAPZS6AfCEBcREQBERAWavskb7DmQPdXlZn1sH1jyufZXkAUM6WqnMya8fPJGzwzrn0UzXNemuqtBSx/NK5/g1v/JZR5N+Ot2ROSIiLpJ09XdeiqlzMmQn53SSc3aPRcJK+jcH0vVUFIzdAy/Ei59Vqs4OHNf/AIS+ZzTplykXVUMFzmMiD7b3vJ08hZc9U96Y6Mtro5LaHwAA97HEEeY5qBLOPBvx9elHQREWRvK4oi9wa0FzibNaBdxJ2ALsfR50efhLVFQAagj4GaxCD/5ei2mBcMUkEEU8DesdIwO699nP0jSBsbp3JiDEjruiju2xzXvOh3eG7uKj8zNhjw7pfk4HOeRL06/C92eYoy7nXhjOj9xw2/SFGURUTJyJ5FjnL8EzTTGmHbEmGDaPNjdIdbjYfxH+6kSiOT8WNiYxhiNmgC4PmsqpxfG6N4aHh5aQ240XPerPiZmLTQoKS8L7kHkY19lrk48s0GXKzrZ5HbAc1vALARFU7Juybm+WT8IqEVFexUxhcQBrJAHEqajCUJaLhwdYXIOs20laDC1H1lQCdTBn+OxTpWHpGHCdcp2RT3xv5ER1DIlCajB61yRyTBTNkjx3GxUhjYGgAagABwCqRTlONVS26462Rdl9lulN70EJRY+UJc2KR25jj/iV0GkieQvjle/e9x5uKmTBoCieFYtAKlwQBERAEREBZfpezuDj6D3V5WW6ZD3NA5kn2CvIAuP9NNVeppo/lhc48XO+wXYFwjpUqs/Kco+RkbP8bn1WdfJ2Ya3YRFERdBMFcMWc5jfmc1vNwHuvp2lizGMbua1vIAL50wpS9bXUjN87CeAOcfRfSC02EZnPzFES6S8N/jKNxYLzQ3lj3kAfGzxHouDr6lXBOkXDf4Ksdmi0Mt5YtwJPxM8D6pW/Y9wrf0P9iKoiLcSR1DoexLYvonnQbyQX3/rYPXmpTjDJliJmjQbNfx2O9lw6grXQSxyxmz2OD2nvB1cNi+iMl5QjyhRskGlkjPiHyu1ObxBUbn4qyKnD+PqcM28e5Wrh8kCRXqulMT3MdrabcdxWZTYfmkYJGNBadXxAHkVQ402Sk4xi21yialZCKUm1pmtRZsuRZ264n8QM4eSwljOuUPEk19fB7GcZf4vYREWBmXIahzNLXObwNlmR4gnb+448bFa9ZWTKTrZo2bC4X/iNa31TtUlGuTW/marIw03NInuSnvdCx0ml5Fzotr1eSy141tgB4L1X6Ee2KTe9FSk9tsLV4llzaWXvAb/c4BbRaHGMloGN+aVvkCVmYlvDMVmhSJajIMdmDgtugCIiAIiFAWYNbz9QHJo+5V5WaXs33ucf8iryAL5xxdVdbX1b987wODfh9l9GP1G2uxtxXz/lLBNcHyPdTSnOe5xLbP1uJ2LZWd+E0m22RxFlT5Lmj7cMrOLHD2WKdGvR5LeSieyWdF1Ln5Th+hsknJth6rvK470L02dV1Enywhvi5/8AxXYlos5IjMe7NfIKNdIGG/xtG9rR+cz82E7c4DS3xGjkpKiwT0csZOLTR8t28N479y8Uy6UMNfhasyMFoZrvG5sn62+/ioaulPa2T8JqcVJBdF6H8RmOZ9I8/BJd8W4SAaR4j0XOls8MzmOtpXDWKiPxu4C3mvJLaMbYKcGmdsxdkzOMT2j4i4RHvv2T6qQ0sAjY1g1NaByCqkiDrXF7EOHEaiq1GV40a7Z2r9WiHnc51xg/bZrcQVnVU7zqJGY3i5c/UjxnWXeyMamjOdxOryUcVX6td6mQ4riPj/pO9Pq7Kd/ELb4cySKiR2eCWNbpsbaTq0rUKc4Uo8yAOOt5z/DYtXTcdX3pSXheWZ5tzqqbXL4LMmDIjqdIO64Psr+ScONp5C8OLjm5ouLWvrW4RWuODjxkpxgk0QMsq6UXFy8BERdhzBRjGD7vp2d7nHyA91J1EsQOzqxjfljHmSUBvsksswcFnrGoW2aFkoAiIgCpkdYE911UrNYfgdwKA9phZjf4i/G2lXVZjqmHQHtPdcXV5AEREBS5gOsA8dKwqnINPJ24IXcWNvzss9EPU2uDX5Lw/BSl5giZEX2z80WvbUtgiIG2/LCIiHhosaYcFfSSRaBIPjicdkg1eB1eK+faukfC90cjXRyNNnMcLEH7L6fWtythynqv9eGOQ7HEWcP6hpWcZ6OvHyfS8Pg+bFOei/Cb6ipZUvaRTxHODiLZ8g7IbvA13XRqbo3oI3Zwp2uN7gOLnjkTZSSOINAa0BrRoDQLADcAFlKz4G63MUo6iipeOdYEnUBcr1Y+UKd0kT2NIaXC2drtvWibai2ltnBFJtJnPcoVXWyvfvcbcNnksdb6XB0w1Ojd4kLElw5UN/bJ4EFUW3EyduUoP+C0wyKdJRkjCpKcySMYNbnAffyXSoow1oaNQAA4BRTCuSXNmc+Rjm5rfhuLfEd3gparD0bHddbnJeW/siI6lcpzUVwv7CIimyLCIiAKHTnPrpTucG8mgKYqF5IOfPK7fI4/5FAS+nFmhXVTGNAVSAIiIArVQ27SrqICCZayO5ziRdattJUR9mSVvBzvuulPpwditOye07EBAY8tVjP3XH+QDvULJjxrVN7TIn/0lp8ipc/IzTsCxZMPNOwIDTRdIJHbg/td9ws2HH8B7TZWeAcPIr2XC7TsWHLhMbkBuYcXUrv3Q3ucHN9Qs+HKkT+zLE7g5v3UKlwodyw5cMOGxAdKDr6tK9XLxkyaPsukbwcQrzMo1keqaQ8fi9UB0pFz6PF9WzX1b+LbelllRdIEg7cDT/FxHkQgJuiisPSDEe3HK3hZ3uFnQ40pXfuFv8muHsgN4iwYMtwP7M0R/qAPIrMZIDqIPA3QFSIiAIiIAiIgCIiAtVUubG925jjyBKimFo9q3+IZc2lmP0W5m3utXhiKzQgJIF6iIAiIgCIiAIiIAiIgC8svUQFJjG5UGnB2K6iAxnUDTsVl+SWnYFnogNPJkBp2BYkuGWnYpGiAiEuFBuWFLhPuU8sqSwIDnMuFnDYsc5EkZ2S9vAkei6YYBuVt1E07EBztlRVx9maXgSSORWRHiisZrc1/8mj1FlN35LadgWPJkJp2BARqLHsw7cMbuBc37rNi6QmfrhkbwId9lmy4aadiw5cKjcgMyHHFM7W57P5NPtdZ0OIqd+qeLxOb6qMy4TWFLhU7kB0GOoa7sua7gQfRXFzB2Hnt1XHDQvWNqY+zLMP6j7oCZYwktT2+aRg87+yqw/HZg4KJNqKibNbK8vaHXFwL31awFN8kxZrBwQGwREQBERAEREAREQBERAEREAREQBERAEREAREQBERAEREAREQHhaFSYRuVaICw6kaditPya07FmIgMBuSmg6gsyNlgq0QBERAEREB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6" name="AutoShape 4" descr="data:image/jpeg;base64,/9j/4AAQSkZJRgABAQAAAQABAAD/2wCEAAkGBhQQEBASEhIPEBAWEBIQEA8UFRQPEBIQFBAVFBQQEhIXGyYeFxkjGRIUHy8gIycpLCwsFR4xNTAqNSYrLCkBCQoKDgwOGg8PGiklHyQtKTQpLDA1KiksLC0sLCw1NSwqLCwvLDQsLC0pLCotLCwsKSwsLCwsLCwsLCksLCwpKf/AABEIAMsA+AMBIgACEQEDEQH/xAAcAAEAAQUBAQAAAAAAAAAAAAAABgIDBAUHAQj/xAA+EAABAwIBCAgEBQMDBQAAAAABAAIDBBEGBRIhMUFRcZEHEzJhgaGxwSJSYtEUI0JDcoKSojPh4hVTwvDx/8QAGgEBAAIDAQAAAAAAAAAAAAAAAAUGAgMEAf/EACwRAAICAgEDAgUEAwEAAAAAAAABAgMEETEFEiETQVFhcaHxQoGRwTKx0SL/2gAMAwEAAhEDEQA/AO4oiIAiIgCK26oaDYkA/wDu1etlB1EHgQUBWiIgCIiAIiIAiIgCIiAIiIAiIgCIiAIiIAiIgCIiAIiIAiIgCIiAIi8KAt05vnHe8+QA9lW6IHWAeIBVukHwDvu7+4k+6vIC1+GbutwJb6J1O5zx439QVdRAWsx3zA8R9il3bmnxI8rK6iAtdadrHeFj7p+IG3OHFp9bK6qTIN45oCkTtP6m81cXhAO4+at/hm7gOHw+iAuorXUbi4eJPqnVu2O5gH0sgLqK18f0Hm37p1jtrT4EH1sgLqK11+8OHgT6L0VDfmHjo9UBcReB19WleoAiIgCIiAIiIAiIgCIiAIiIArdQ6zXHuPoris1XZtvIHNwCAuRtsANwA8lUiIAiKN40xnHk6K+h87geqivr+p25oXqWzKMXJ6RtMtZfho4+snkbG3YNbnHc1uslcyy70ySvJbSxtib/AN2T4nnvDdQ81BMr5Zlq5TLO8vedXytHytGwLCW5QS5JWrEjHzLyzbV2LKuc/mVM57g4sbybZa41b/nk/ud91aRZnWopcIzaXLc8RvHPOw9z3W5XspNknpXrIbB5ZUM2h4s+3c8KGIjSZjKuEuUd3w10l01YQwkwTH9t/ZJ3MfqKly+Wl0bAHSU6JzKarcXRGzY5jpdGdgedre/YtUofAj7sTS7ofwdfReNdcXGkawVRUzBjHOOoNJ5BaW0ltnAlt6Li8IXPP+uTZxIkeLkm17gX2WWVFiqdv6mu4tHsoSPW6Hymv4JN9Mt9mibGnaf0t5aea8/DjYXD+oqPZIxPJNKyMsZp1uFxYDbZSZSmPk15Ee6vg4bqZ0vtmWuqOx58QD7JZ+9p8CPcqzXZUjhzesdm31aCdSpiy1C7VKznb1WburUu1yW/hsxVU2u5J6MjPd8oPA/eyddva8eF/RVMna7U5p4EFVrYmnwYa0WvxLd9uN2+qra8HUQeGlVKh0LTra0+AXp4VorLoAATpFgTocQOV7Kikqg5o03NhfjZAZKIiAIiIArM+tg+q/JpKvKy7TI3ua4+YH3QF5ERAYmVcpMpoZJpDZjGlx3m2oDvK+dcu5akrJ3zyH4nHQ3Yxn6WDuC6P0z5aIZBStPaPWyD6WmzRzvyXKFvrXjZLYdWo979wiIth3BFvcL4Onyg8iIBsYNnzO7De4bz3LoNP0KwBvx1E7nbS0NYL9w0rFySNFl8IPTZyFF0HEfRFLAx0lM8ztAuYyLS2Hy20O4Ln5H/AMXqafBnCyM1uLPERF6bDsvRLigzwuppHXkhALCdJdCTYcjo5KR4vrMyAMGt7reA0lcYwDlM0+UaZ17Nc/qn/wAXi3rZdpxdT51PnbWuB8DoKi+pKSx59vw/P2I704wyot8N/f8AJCERFQCwkowXR/6kp/g31KlSwci0fVQRt22ueJ0q/XVIije8/paT47FesOpY+Ok/ZbZVcmbuubXx0iF4orOsqHAamDMHHWfNaheveSSTrJJPErxUq6122Sm/dlmqgq4KK9j1riNRIPdoXRsk05jhjaSS7NBcTpNzpKhGQaPraiNuwHOdwbp9V0JWDolL1K1/RER1SzzGC+oREVjIYxMqzZkErt0bvRaXDUhc0XWfimXNpZO/NbzcPssbDcVmBAb9ERAEREAVlnbd3NaPMlXlZg1vP1W5AD2KAvIiIDgnSdW9ZlOfcwMiA4NufMqKrZYkqetrKp++eTkHWHotaupcFgrWoJfILJydQOnmihZ2nvawd1za/hrWMpj0UUuflJhtcMikf42DQfNG9IWS7YuR2bImR2UkEcEYs1rbd7nbXHvJWciLlIBvb2wuHdK2RW09dnsFmzM6wgag8GzuetdxXHOmetDquCMEExwuLu4vdoB8B5rOvk6sNv1PBz1ERdBMmTk51poSNYmjI454X0Xl4XpZf4L58w7SmWrpmDSTMzkDc+QX0BiWTNpZNlwGjxIXDnNKmW/g/wDRw3+bq0vj/ZAVn5Co+tqI27Ac93ALAWyyLlcUznOzM8kAXvawVBxuz1Y+o/G/JM3d3pvs5OgKOYyrLRsjGtxueDf917FjSM9pj28io/lzKInmLxfNsGtvuCsnUOoVSx3GqW2/H7ELiYlkbk5rSRr0RehtyANZNhxKqhPEswZR2a+U7TmDgNfqpKsbJtJ1UUbNzRfjtWSr9h0+jTGHy8/UqeTb6trkERF1Ggj2MpPyom/NKPIFZmQo7MHBavFr7y07Nwc7mQPZbzJbLMHBAZqIiAIiIAVZpezfeSebiq5XWaTuBPkkLbNaNzQPJAVqxXTZkUj/AJWOdyaSr60eNqrqsn1btX5LgOLtA9V6jKK20j54e/OJdvJdzN/dUoEXUWELpHQpS3nqpPljYwcXOJPoFzddf6FaW1NUSfNMG+DWD7rCfBz5T1UzoyLWYixBHQwOmlOgaGtHae86mtXFMRdIVVWFw6wwwnVDGc3R9TtblpjFsjKceVvlcHUcWdIsFE1zWObNUW+GJpuGnfI4auGtcPyhXvnlfLI7Oke4uce87B3BY6LfGKRK00RqXjkIirihc9zWtBc5xDWtGkknQAFkbia9EeRjNW9cR8ELC6+zrHfCByuV0jGlXZkce0nOPBur1VeC8ODJ1G1jrdYfzJ3fWRpF9wAso5lev6+Zz/06mj6RqVf6zkqFPYuZeP29zlx16+R3+0TCRZWTsnPncWstcC5voFlly4Ynb+jO4EFVOGPbOPdGLaJaV1cX2ykkzVIrtRSujNntLTa9ju3q0tLTT0zYmmtoL0FeIvD0zIsrzN1Sv53UiwxlOaZ7s92cxrdwuSdQuoip1haj6unaTrec88NgUz0p22Xpdz0vL8sjM9Vwqb0ts3CIit5XiI5bdnVoHysaOdz7qT0bbNCil8+tmO5+b/aAPZS6AfCEBcREQBERAWavskb7DmQPdXlZn1sH1jyufZXkAUM6WqnMya8fPJGzwzrn0UzXNemuqtBSx/NK5/g1v/JZR5N+Ot2ROSIiLpJ09XdeiqlzMmQn53SSc3aPRcJK+jcH0vVUFIzdAy/Ei59Vqs4OHNf/AIS+ZzTplykXVUMFzmMiD7b3vJ08hZc9U96Y6Mtro5LaHwAA97HEEeY5qBLOPBvx9elHQREWRvK4oi9wa0FzibNaBdxJ2ALsfR50efhLVFQAagj4GaxCD/5ei2mBcMUkEEU8DesdIwO699nP0jSBsbp3JiDEjruiju2xzXvOh3eG7uKj8zNhjw7pfk4HOeRL06/C92eYoy7nXhjOj9xw2/SFGURUTJyJ5FjnL8EzTTGmHbEmGDaPNjdIdbjYfxH+6kSiOT8WNiYxhiNmgC4PmsqpxfG6N4aHh5aQ240XPerPiZmLTQoKS8L7kHkY19lrk48s0GXKzrZ5HbAc1vALARFU7Juybm+WT8IqEVFexUxhcQBrJAHEqajCUJaLhwdYXIOs20laDC1H1lQCdTBn+OxTpWHpGHCdcp2RT3xv5ER1DIlCajB61yRyTBTNkjx3GxUhjYGgAagABwCqRTlONVS26462Rdl9lulN70EJRY+UJc2KR25jj/iV0GkieQvjle/e9x5uKmTBoCieFYtAKlwQBERAEREBZfpezuDj6D3V5WW6ZD3NA5kn2CvIAuP9NNVeppo/lhc48XO+wXYFwjpUqs/Kco+RkbP8bn1WdfJ2Ya3YRFERdBMFcMWc5jfmc1vNwHuvp2lizGMbua1vIAL50wpS9bXUjN87CeAOcfRfSC02EZnPzFES6S8N/jKNxYLzQ3lj3kAfGzxHouDr6lXBOkXDf4Ksdmi0Mt5YtwJPxM8D6pW/Y9wrf0P9iKoiLcSR1DoexLYvonnQbyQX3/rYPXmpTjDJliJmjQbNfx2O9lw6grXQSxyxmz2OD2nvB1cNi+iMl5QjyhRskGlkjPiHyu1ObxBUbn4qyKnD+PqcM28e5Wrh8kCRXqulMT3MdrabcdxWZTYfmkYJGNBadXxAHkVQ402Sk4xi21yialZCKUm1pmtRZsuRZ264n8QM4eSwljOuUPEk19fB7GcZf4vYREWBmXIahzNLXObwNlmR4gnb+448bFa9ZWTKTrZo2bC4X/iNa31TtUlGuTW/marIw03NInuSnvdCx0ml5Fzotr1eSy141tgB4L1X6Ee2KTe9FSk9tsLV4llzaWXvAb/c4BbRaHGMloGN+aVvkCVmYlvDMVmhSJajIMdmDgtugCIiAIiFAWYNbz9QHJo+5V5WaXs33ucf8iryAL5xxdVdbX1b987wODfh9l9GP1G2uxtxXz/lLBNcHyPdTSnOe5xLbP1uJ2LZWd+E0m22RxFlT5Lmj7cMrOLHD2WKdGvR5LeSieyWdF1Ln5Th+hsknJth6rvK470L02dV1Enywhvi5/8AxXYlos5IjMe7NfIKNdIGG/xtG9rR+cz82E7c4DS3xGjkpKiwT0csZOLTR8t28N479y8Uy6UMNfhasyMFoZrvG5sn62+/ioaulPa2T8JqcVJBdF6H8RmOZ9I8/BJd8W4SAaR4j0XOls8MzmOtpXDWKiPxu4C3mvJLaMbYKcGmdsxdkzOMT2j4i4RHvv2T6qQ0sAjY1g1NaByCqkiDrXF7EOHEaiq1GV40a7Z2r9WiHnc51xg/bZrcQVnVU7zqJGY3i5c/UjxnWXeyMamjOdxOryUcVX6td6mQ4riPj/pO9Pq7Kd/ELb4cySKiR2eCWNbpsbaTq0rUKc4Uo8yAOOt5z/DYtXTcdX3pSXheWZ5tzqqbXL4LMmDIjqdIO64Psr+ScONp5C8OLjm5ouLWvrW4RWuODjxkpxgk0QMsq6UXFy8BERdhzBRjGD7vp2d7nHyA91J1EsQOzqxjfljHmSUBvsksswcFnrGoW2aFkoAiIgCpkdYE911UrNYfgdwKA9phZjf4i/G2lXVZjqmHQHtPdcXV5AEREBS5gOsA8dKwqnINPJ24IXcWNvzss9EPU2uDX5Lw/BSl5giZEX2z80WvbUtgiIG2/LCIiHhosaYcFfSSRaBIPjicdkg1eB1eK+faukfC90cjXRyNNnMcLEH7L6fWtythynqv9eGOQ7HEWcP6hpWcZ6OvHyfS8Pg+bFOei/Cb6ipZUvaRTxHODiLZ8g7IbvA13XRqbo3oI3Zwp2uN7gOLnjkTZSSOINAa0BrRoDQLADcAFlKz4G63MUo6iipeOdYEnUBcr1Y+UKd0kT2NIaXC2drtvWibai2ltnBFJtJnPcoVXWyvfvcbcNnksdb6XB0w1Ojd4kLElw5UN/bJ4EFUW3EyduUoP+C0wyKdJRkjCpKcySMYNbnAffyXSoow1oaNQAA4BRTCuSXNmc+Rjm5rfhuLfEd3gparD0bHddbnJeW/siI6lcpzUVwv7CIimyLCIiAKHTnPrpTucG8mgKYqF5IOfPK7fI4/5FAS+nFmhXVTGNAVSAIiIArVQ27SrqICCZayO5ziRdattJUR9mSVvBzvuulPpwditOye07EBAY8tVjP3XH+QDvULJjxrVN7TIn/0lp8ipc/IzTsCxZMPNOwIDTRdIJHbg/td9ws2HH8B7TZWeAcPIr2XC7TsWHLhMbkBuYcXUrv3Q3ucHN9Qs+HKkT+zLE7g5v3UKlwodyw5cMOGxAdKDr6tK9XLxkyaPsukbwcQrzMo1keqaQ8fi9UB0pFz6PF9WzX1b+LbelllRdIEg7cDT/FxHkQgJuiisPSDEe3HK3hZ3uFnQ40pXfuFv8muHsgN4iwYMtwP7M0R/qAPIrMZIDqIPA3QFSIiAIiIAiIgCIiAtVUubG925jjyBKimFo9q3+IZc2lmP0W5m3utXhiKzQgJIF6iIAiIgCIiAIiIAiIgC8svUQFJjG5UGnB2K6iAxnUDTsVl+SWnYFnogNPJkBp2BYkuGWnYpGiAiEuFBuWFLhPuU8sqSwIDnMuFnDYsc5EkZ2S9vAkei6YYBuVt1E07EBztlRVx9maXgSSORWRHiisZrc1/8mj1FlN35LadgWPJkJp2BARqLHsw7cMbuBc37rNi6QmfrhkbwId9lmy4aadiw5cKjcgMyHHFM7W57P5NPtdZ0OIqd+qeLxOb6qMy4TWFLhU7kB0GOoa7sua7gQfRXFzB2Hnt1XHDQvWNqY+zLMP6j7oCZYwktT2+aRg87+yqw/HZg4KJNqKibNbK8vaHXFwL31awFN8kxZrBwQGwREQBERAEREAREQBERAEREAREQBERAEREAREQBERAEREAREQHhaFSYRuVaICw6kaditPya07FmIgMBuSmg6gsyNlgq0QBERAEREB//9k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3074" name="Picture 2" descr="http://simpleicon.com/wp-content/uploads/stopwatch-1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262787" y="1196752"/>
            <a:ext cx="765597" cy="765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ZoneTexte 6"/>
          <p:cNvSpPr txBox="1"/>
          <p:nvPr/>
        </p:nvSpPr>
        <p:spPr>
          <a:xfrm>
            <a:off x="8020490" y="1287162"/>
            <a:ext cx="74236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dirty="0" smtClean="0"/>
              <a:t>10’</a:t>
            </a:r>
            <a:endParaRPr lang="fr-FR" sz="3200" dirty="0"/>
          </a:p>
        </p:txBody>
      </p:sp>
      <p:pic>
        <p:nvPicPr>
          <p:cNvPr id="14" name="Image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0000" y="2750855"/>
            <a:ext cx="1076325" cy="647700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67487" y="2300050"/>
            <a:ext cx="990600" cy="666750"/>
          </a:xfrm>
          <a:prstGeom prst="rect">
            <a:avLst/>
          </a:prstGeom>
        </p:spPr>
      </p:pic>
      <p:sp>
        <p:nvSpPr>
          <p:cNvPr id="19" name="ZoneTexte 18"/>
          <p:cNvSpPr txBox="1"/>
          <p:nvPr/>
        </p:nvSpPr>
        <p:spPr>
          <a:xfrm>
            <a:off x="460375" y="4329100"/>
            <a:ext cx="310753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5088" lvl="1">
              <a:buSzPct val="100000"/>
            </a:pPr>
            <a:r>
              <a:rPr lang="fr-FR" sz="2000" b="1" dirty="0" smtClean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ests</a:t>
            </a:r>
            <a:endParaRPr lang="fr-FR" sz="2000" b="1" dirty="0">
              <a:solidFill>
                <a:schemeClr val="accent5">
                  <a:lumMod val="75000"/>
                </a:schemeClr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65088" lvl="1">
              <a:buSzPct val="100000"/>
            </a:pP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Cherries -&gt; 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75 </a:t>
            </a:r>
          </a:p>
          <a:p>
            <a:pPr marL="65088" lvl="1">
              <a:buSzPct val="100000"/>
            </a:pP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Pommes -&gt; 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175 </a:t>
            </a:r>
          </a:p>
          <a:p>
            <a:pPr marL="65088" lvl="1">
              <a:buSzPct val="100000"/>
            </a:pP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Cherries -&gt; 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230 </a:t>
            </a:r>
          </a:p>
          <a:p>
            <a:pPr marL="65088" lvl="1">
              <a:buSzPct val="100000"/>
            </a:pP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Bananas 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-&gt; 380 </a:t>
            </a:r>
          </a:p>
          <a:p>
            <a:pPr marL="65088" lvl="1">
              <a:buSzPct val="100000"/>
            </a:pP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Bananas 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-&gt; 380 </a:t>
            </a:r>
          </a:p>
        </p:txBody>
      </p:sp>
      <p:sp>
        <p:nvSpPr>
          <p:cNvPr id="20" name="ZoneTexte 19"/>
          <p:cNvSpPr txBox="1"/>
          <p:nvPr/>
        </p:nvSpPr>
        <p:spPr>
          <a:xfrm>
            <a:off x="4907776" y="4292143"/>
            <a:ext cx="3505136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5088" lvl="1">
              <a:buSzPct val="100000"/>
            </a:pPr>
            <a:r>
              <a:rPr lang="fr-FR" sz="2000" b="1" dirty="0" smtClean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Tests 2</a:t>
            </a:r>
            <a:endParaRPr lang="fr-FR" sz="2000" b="1" dirty="0">
              <a:solidFill>
                <a:schemeClr val="accent5">
                  <a:lumMod val="75000"/>
                </a:schemeClr>
              </a:solidFill>
              <a:latin typeface="Consolas" panose="020B0609020204030204" pitchFamily="49" charset="0"/>
              <a:ea typeface="Anonymous Pro" panose="02060609030202000504" pitchFamily="49" charset="0"/>
              <a:cs typeface="Consolas" panose="020B0609020204030204" pitchFamily="49" charset="0"/>
            </a:endParaRPr>
          </a:p>
          <a:p>
            <a:pPr marL="65088" lvl="1">
              <a:buSzPct val="100000"/>
            </a:pP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Cherries -&gt; 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75 </a:t>
            </a:r>
          </a:p>
          <a:p>
            <a:pPr marL="65088" lvl="1">
              <a:buSzPct val="100000"/>
            </a:pP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Pommes -&gt; 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175 </a:t>
            </a:r>
          </a:p>
          <a:p>
            <a:pPr marL="65088" lvl="1">
              <a:buSzPct val="100000"/>
            </a:pP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Cherries </a:t>
            </a:r>
            <a:r>
              <a:rPr lang="fr-FR" sz="2000" b="1" dirty="0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-&gt; 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230 </a:t>
            </a:r>
          </a:p>
          <a:p>
            <a:pPr marL="65088" lvl="1">
              <a:buSzPct val="100000"/>
            </a:pP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Bananas 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-&gt; 380 </a:t>
            </a:r>
          </a:p>
          <a:p>
            <a:pPr marL="65088" lvl="1">
              <a:buSzPct val="100000"/>
            </a:pP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 err="1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Apples</a:t>
            </a:r>
            <a:r>
              <a:rPr lang="fr-FR" sz="2000" b="1" dirty="0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 -&gt; 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480 </a:t>
            </a:r>
          </a:p>
          <a:p>
            <a:pPr marL="65088" lvl="1">
              <a:buSzPct val="100000"/>
            </a:pP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 err="1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Mele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 -&gt; 580</a:t>
            </a:r>
          </a:p>
        </p:txBody>
      </p:sp>
    </p:spTree>
    <p:extLst>
      <p:ext uri="{BB962C8B-B14F-4D97-AF65-F5344CB8AC3E}">
        <p14:creationId xmlns:p14="http://schemas.microsoft.com/office/powerpoint/2010/main" val="2748555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395536" y="2132856"/>
            <a:ext cx="6157664" cy="4392488"/>
          </a:xfrm>
        </p:spPr>
        <p:txBody>
          <a:bodyPr/>
          <a:lstStyle/>
          <a:p>
            <a:r>
              <a:rPr lang="en-US" sz="2400" dirty="0" smtClean="0"/>
              <a:t>Goal : Special offers per localization</a:t>
            </a:r>
          </a:p>
          <a:p>
            <a:r>
              <a:rPr lang="en-US" sz="2400" dirty="0" smtClean="0"/>
              <a:t>3 packs of “Pommes” cost 2€</a:t>
            </a:r>
          </a:p>
          <a:p>
            <a:r>
              <a:rPr lang="en-US" sz="2400" dirty="0" smtClean="0"/>
              <a:t>2 packs of “</a:t>
            </a:r>
            <a:r>
              <a:rPr lang="en-US" sz="2400" dirty="0" err="1" smtClean="0"/>
              <a:t>Mele</a:t>
            </a:r>
            <a:r>
              <a:rPr lang="en-US" sz="2400" dirty="0" smtClean="0"/>
              <a:t>” cost 1,5€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FC98-F726-4387-BD61-63831D042500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460375" y="1161913"/>
            <a:ext cx="8229600" cy="782960"/>
          </a:xfrm>
        </p:spPr>
        <p:txBody>
          <a:bodyPr/>
          <a:lstStyle/>
          <a:p>
            <a:r>
              <a:rPr lang="fr-FR" sz="3600" dirty="0" err="1" smtClean="0"/>
              <a:t>Iteration</a:t>
            </a:r>
            <a:r>
              <a:rPr lang="fr-FR" sz="3600" dirty="0" smtClean="0"/>
              <a:t> 5 </a:t>
            </a:r>
            <a:r>
              <a:rPr lang="fr-FR" sz="1800" dirty="0"/>
              <a:t/>
            </a:r>
            <a:br>
              <a:rPr lang="fr-FR" sz="1800" dirty="0"/>
            </a:br>
            <a:endParaRPr lang="fr-FR" sz="1800" dirty="0"/>
          </a:p>
        </p:txBody>
      </p:sp>
      <p:sp>
        <p:nvSpPr>
          <p:cNvPr id="5" name="AutoShape 2" descr="data:image/jpeg;base64,/9j/4AAQSkZJRgABAQAAAQABAAD/2wCEAAkGBhQQEBASEhIPEBAWEBIQEA8UFRQPEBIQFBAVFBQQEhIXGyYeFxkjGRIUHy8gIycpLCwsFR4xNTAqNSYrLCkBCQoKDgwOGg8PGiklHyQtKTQpLDA1KiksLC0sLCw1NSwqLCwvLDQsLC0pLCotLCwsKSwsLCwsLCwsLCksLCwpKf/AABEIAMsA+AMBIgACEQEDEQH/xAAcAAEAAQUBAQAAAAAAAAAAAAAABgIDBAUHAQj/xAA+EAABAwIBCAgEBQMDBQAAAAABAAIDBBEGBRIhMUFRcZEHEzJhgaGxwSJSYtEUI0JDcoKSojPh4hVTwvDx/8QAGgEBAAIDAQAAAAAAAAAAAAAAAAUGAgMEAf/EACwRAAICAgEDAgUEAwEAAAAAAAABAgMEETEFEiETQVFhcaHxQoGRwTKx0SL/2gAMAwEAAhEDEQA/AO4oiIAiIgCK26oaDYkA/wDu1etlB1EHgQUBWiIgCIiAIiIAiIgCIiAIiIAiIgCIiAIiIAiIgCIiAIiIAiIgCIiAIi8KAt05vnHe8+QA9lW6IHWAeIBVukHwDvu7+4k+6vIC1+GbutwJb6J1O5zx439QVdRAWsx3zA8R9il3bmnxI8rK6iAtdadrHeFj7p+IG3OHFp9bK6qTIN45oCkTtP6m81cXhAO4+at/hm7gOHw+iAuorXUbi4eJPqnVu2O5gH0sgLqK18f0Hm37p1jtrT4EH1sgLqK11+8OHgT6L0VDfmHjo9UBcReB19WleoAiIgCIiAIiIAiIgCIiAIiIArdQ6zXHuPoris1XZtvIHNwCAuRtsANwA8lUiIAiKN40xnHk6K+h87geqivr+p25oXqWzKMXJ6RtMtZfho4+snkbG3YNbnHc1uslcyy70ySvJbSxtib/AN2T4nnvDdQ81BMr5Zlq5TLO8vedXytHytGwLCW5QS5JWrEjHzLyzbV2LKuc/mVM57g4sbybZa41b/nk/ud91aRZnWopcIzaXLc8RvHPOw9z3W5XspNknpXrIbB5ZUM2h4s+3c8KGIjSZjKuEuUd3w10l01YQwkwTH9t/ZJ3MfqKly+Wl0bAHSU6JzKarcXRGzY5jpdGdgedre/YtUofAj7sTS7ofwdfReNdcXGkawVRUzBjHOOoNJ5BaW0ltnAlt6Li8IXPP+uTZxIkeLkm17gX2WWVFiqdv6mu4tHsoSPW6Hymv4JN9Mt9mibGnaf0t5aea8/DjYXD+oqPZIxPJNKyMsZp1uFxYDbZSZSmPk15Ee6vg4bqZ0vtmWuqOx58QD7JZ+9p8CPcqzXZUjhzesdm31aCdSpiy1C7VKznb1WburUu1yW/hsxVU2u5J6MjPd8oPA/eyddva8eF/RVMna7U5p4EFVrYmnwYa0WvxLd9uN2+qra8HUQeGlVKh0LTra0+AXp4VorLoAATpFgTocQOV7Kikqg5o03NhfjZAZKIiAIiIArM+tg+q/JpKvKy7TI3ua4+YH3QF5ERAYmVcpMpoZJpDZjGlx3m2oDvK+dcu5akrJ3zyH4nHQ3Yxn6WDuC6P0z5aIZBStPaPWyD6WmzRzvyXKFvrXjZLYdWo979wiIth3BFvcL4Onyg8iIBsYNnzO7De4bz3LoNP0KwBvx1E7nbS0NYL9w0rFySNFl8IPTZyFF0HEfRFLAx0lM8ztAuYyLS2Hy20O4Ln5H/AMXqafBnCyM1uLPERF6bDsvRLigzwuppHXkhALCdJdCTYcjo5KR4vrMyAMGt7reA0lcYwDlM0+UaZ17Nc/qn/wAXi3rZdpxdT51PnbWuB8DoKi+pKSx59vw/P2I704wyot8N/f8AJCERFQCwkowXR/6kp/g31KlSwci0fVQRt22ueJ0q/XVIije8/paT47FesOpY+Ok/ZbZVcmbuubXx0iF4orOsqHAamDMHHWfNaheveSSTrJJPErxUq6122Sm/dlmqgq4KK9j1riNRIPdoXRsk05jhjaSS7NBcTpNzpKhGQaPraiNuwHOdwbp9V0JWDolL1K1/RER1SzzGC+oREVjIYxMqzZkErt0bvRaXDUhc0XWfimXNpZO/NbzcPssbDcVmBAb9ERAEREAVlnbd3NaPMlXlZg1vP1W5AD2KAvIiIDgnSdW9ZlOfcwMiA4NufMqKrZYkqetrKp++eTkHWHotaupcFgrWoJfILJydQOnmihZ2nvawd1za/hrWMpj0UUuflJhtcMikf42DQfNG9IWS7YuR2bImR2UkEcEYs1rbd7nbXHvJWciLlIBvb2wuHdK2RW09dnsFmzM6wgag8GzuetdxXHOmetDquCMEExwuLu4vdoB8B5rOvk6sNv1PBz1ERdBMmTk51poSNYmjI454X0Xl4XpZf4L58w7SmWrpmDSTMzkDc+QX0BiWTNpZNlwGjxIXDnNKmW/g/wDRw3+bq0vj/ZAVn5Co+tqI27Ac93ALAWyyLlcUznOzM8kAXvawVBxuz1Y+o/G/JM3d3pvs5OgKOYyrLRsjGtxueDf917FjSM9pj28io/lzKInmLxfNsGtvuCsnUOoVSx3GqW2/H7ELiYlkbk5rSRr0RehtyANZNhxKqhPEswZR2a+U7TmDgNfqpKsbJtJ1UUbNzRfjtWSr9h0+jTGHy8/UqeTb6trkERF1Ggj2MpPyom/NKPIFZmQo7MHBavFr7y07Nwc7mQPZbzJbLMHBAZqIiAIiIAVZpezfeSebiq5XWaTuBPkkLbNaNzQPJAVqxXTZkUj/AJWOdyaSr60eNqrqsn1btX5LgOLtA9V6jKK20j54e/OJdvJdzN/dUoEXUWELpHQpS3nqpPljYwcXOJPoFzddf6FaW1NUSfNMG+DWD7rCfBz5T1UzoyLWYixBHQwOmlOgaGtHae86mtXFMRdIVVWFw6wwwnVDGc3R9TtblpjFsjKceVvlcHUcWdIsFE1zWObNUW+GJpuGnfI4auGtcPyhXvnlfLI7Oke4uce87B3BY6LfGKRK00RqXjkIirihc9zWtBc5xDWtGkknQAFkbia9EeRjNW9cR8ELC6+zrHfCByuV0jGlXZkce0nOPBur1VeC8ODJ1G1jrdYfzJ3fWRpF9wAso5lev6+Zz/06mj6RqVf6zkqFPYuZeP29zlx16+R3+0TCRZWTsnPncWstcC5voFlly4Ynb+jO4EFVOGPbOPdGLaJaV1cX2ykkzVIrtRSujNntLTa9ju3q0tLTT0zYmmtoL0FeIvD0zIsrzN1Sv53UiwxlOaZ7s92cxrdwuSdQuoip1haj6unaTrec88NgUz0p22Xpdz0vL8sjM9Vwqb0ts3CIit5XiI5bdnVoHysaOdz7qT0bbNCil8+tmO5+b/aAPZS6AfCEBcREQBERAWavskb7DmQPdXlZn1sH1jyufZXkAUM6WqnMya8fPJGzwzrn0UzXNemuqtBSx/NK5/g1v/JZR5N+Ot2ROSIiLpJ09XdeiqlzMmQn53SSc3aPRcJK+jcH0vVUFIzdAy/Ei59Vqs4OHNf/AIS+ZzTplykXVUMFzmMiD7b3vJ08hZc9U96Y6Mtro5LaHwAA97HEEeY5qBLOPBvx9elHQREWRvK4oi9wa0FzibNaBdxJ2ALsfR50efhLVFQAagj4GaxCD/5ei2mBcMUkEEU8DesdIwO699nP0jSBsbp3JiDEjruiju2xzXvOh3eG7uKj8zNhjw7pfk4HOeRL06/C92eYoy7nXhjOj9xw2/SFGURUTJyJ5FjnL8EzTTGmHbEmGDaPNjdIdbjYfxH+6kSiOT8WNiYxhiNmgC4PmsqpxfG6N4aHh5aQ240XPerPiZmLTQoKS8L7kHkY19lrk48s0GXKzrZ5HbAc1vALARFU7Juybm+WT8IqEVFexUxhcQBrJAHEqajCUJaLhwdYXIOs20laDC1H1lQCdTBn+OxTpWHpGHCdcp2RT3xv5ER1DIlCajB61yRyTBTNkjx3GxUhjYGgAagABwCqRTlONVS26462Rdl9lulN70EJRY+UJc2KR25jj/iV0GkieQvjle/e9x5uKmTBoCieFYtAKlwQBERAEREBZfpezuDj6D3V5WW6ZD3NA5kn2CvIAuP9NNVeppo/lhc48XO+wXYFwjpUqs/Kco+RkbP8bn1WdfJ2Ya3YRFERdBMFcMWc5jfmc1vNwHuvp2lizGMbua1vIAL50wpS9bXUjN87CeAOcfRfSC02EZnPzFES6S8N/jKNxYLzQ3lj3kAfGzxHouDr6lXBOkXDf4Ksdmi0Mt5YtwJPxM8D6pW/Y9wrf0P9iKoiLcSR1DoexLYvonnQbyQX3/rYPXmpTjDJliJmjQbNfx2O9lw6grXQSxyxmz2OD2nvB1cNi+iMl5QjyhRskGlkjPiHyu1ObxBUbn4qyKnD+PqcM28e5Wrh8kCRXqulMT3MdrabcdxWZTYfmkYJGNBadXxAHkVQ402Sk4xi21yialZCKUm1pmtRZsuRZ264n8QM4eSwljOuUPEk19fB7GcZf4vYREWBmXIahzNLXObwNlmR4gnb+448bFa9ZWTKTrZo2bC4X/iNa31TtUlGuTW/marIw03NInuSnvdCx0ml5Fzotr1eSy141tgB4L1X6Ee2KTe9FSk9tsLV4llzaWXvAb/c4BbRaHGMloGN+aVvkCVmYlvDMVmhSJajIMdmDgtugCIiAIiFAWYNbz9QHJo+5V5WaXs33ucf8iryAL5xxdVdbX1b987wODfh9l9GP1G2uxtxXz/lLBNcHyPdTSnOe5xLbP1uJ2LZWd+E0m22RxFlT5Lmj7cMrOLHD2WKdGvR5LeSieyWdF1Ln5Th+hsknJth6rvK470L02dV1Enywhvi5/8AxXYlos5IjMe7NfIKNdIGG/xtG9rR+cz82E7c4DS3xGjkpKiwT0csZOLTR8t28N479y8Uy6UMNfhasyMFoZrvG5sn62+/ioaulPa2T8JqcVJBdF6H8RmOZ9I8/BJd8W4SAaR4j0XOls8MzmOtpXDWKiPxu4C3mvJLaMbYKcGmdsxdkzOMT2j4i4RHvv2T6qQ0sAjY1g1NaByCqkiDrXF7EOHEaiq1GV40a7Z2r9WiHnc51xg/bZrcQVnVU7zqJGY3i5c/UjxnWXeyMamjOdxOryUcVX6td6mQ4riPj/pO9Pq7Kd/ELb4cySKiR2eCWNbpsbaTq0rUKc4Uo8yAOOt5z/DYtXTcdX3pSXheWZ5tzqqbXL4LMmDIjqdIO64Psr+ScONp5C8OLjm5ouLWvrW4RWuODjxkpxgk0QMsq6UXFy8BERdhzBRjGD7vp2d7nHyA91J1EsQOzqxjfljHmSUBvsksswcFnrGoW2aFkoAiIgCpkdYE911UrNYfgdwKA9phZjf4i/G2lXVZjqmHQHtPdcXV5AEREBS5gOsA8dKwqnINPJ24IXcWNvzss9EPU2uDX5Lw/BSl5giZEX2z80WvbUtgiIG2/LCIiHhosaYcFfSSRaBIPjicdkg1eB1eK+faukfC90cjXRyNNnMcLEH7L6fWtythynqv9eGOQ7HEWcP6hpWcZ6OvHyfS8Pg+bFOei/Cb6ipZUvaRTxHODiLZ8g7IbvA13XRqbo3oI3Zwp2uN7gOLnjkTZSSOINAa0BrRoDQLADcAFlKz4G63MUo6iipeOdYEnUBcr1Y+UKd0kT2NIaXC2drtvWibai2ltnBFJtJnPcoVXWyvfvcbcNnksdb6XB0w1Ojd4kLElw5UN/bJ4EFUW3EyduUoP+C0wyKdJRkjCpKcySMYNbnAffyXSoow1oaNQAA4BRTCuSXNmc+Rjm5rfhuLfEd3gparD0bHddbnJeW/siI6lcpzUVwv7CIimyLCIiAKHTnPrpTucG8mgKYqF5IOfPK7fI4/5FAS+nFmhXVTGNAVSAIiIArVQ27SrqICCZayO5ziRdattJUR9mSVvBzvuulPpwditOye07EBAY8tVjP3XH+QDvULJjxrVN7TIn/0lp8ipc/IzTsCxZMPNOwIDTRdIJHbg/td9ws2HH8B7TZWeAcPIr2XC7TsWHLhMbkBuYcXUrv3Q3ucHN9Qs+HKkT+zLE7g5v3UKlwodyw5cMOGxAdKDr6tK9XLxkyaPsukbwcQrzMo1keqaQ8fi9UB0pFz6PF9WzX1b+LbelllRdIEg7cDT/FxHkQgJuiisPSDEe3HK3hZ3uFnQ40pXfuFv8muHsgN4iwYMtwP7M0R/qAPIrMZIDqIPA3QFSIiAIiIAiIgCIiAtVUubG925jjyBKimFo9q3+IZc2lmP0W5m3utXhiKzQgJIF6iIAiIgCIiAIiIAiIgC8svUQFJjG5UGnB2K6iAxnUDTsVl+SWnYFnogNPJkBp2BYkuGWnYpGiAiEuFBuWFLhPuU8sqSwIDnMuFnDYsc5EkZ2S9vAkei6YYBuVt1E07EBztlRVx9maXgSSORWRHiisZrc1/8mj1FlN35LadgWPJkJp2BARqLHsw7cMbuBc37rNi6QmfrhkbwId9lmy4aadiw5cKjcgMyHHFM7W57P5NPtdZ0OIqd+qeLxOb6qMy4TWFLhU7kB0GOoa7sua7gQfRXFzB2Hnt1XHDQvWNqY+zLMP6j7oCZYwktT2+aRg87+yqw/HZg4KJNqKibNbK8vaHXFwL31awFN8kxZrBwQGwREQBERAEREAREQBERAEREAREQBERAEREAREQBERAEREAREQHhaFSYRuVaICw6kaditPya07FmIgMBuSmg6gsyNlgq0QBERAEREB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6" name="AutoShape 4" descr="data:image/jpeg;base64,/9j/4AAQSkZJRgABAQAAAQABAAD/2wCEAAkGBhQQEBASEhIPEBAWEBIQEA8UFRQPEBIQFBAVFBQQEhIXGyYeFxkjGRIUHy8gIycpLCwsFR4xNTAqNSYrLCkBCQoKDgwOGg8PGiklHyQtKTQpLDA1KiksLC0sLCw1NSwqLCwvLDQsLC0pLCotLCwsKSwsLCwsLCwsLCksLCwpKf/AABEIAMsA+AMBIgACEQEDEQH/xAAcAAEAAQUBAQAAAAAAAAAAAAAABgIDBAUHAQj/xAA+EAABAwIBCAgEBQMDBQAAAAABAAIDBBEGBRIhMUFRcZEHEzJhgaGxwSJSYtEUI0JDcoKSojPh4hVTwvDx/8QAGgEBAAIDAQAAAAAAAAAAAAAAAAUGAgMEAf/EACwRAAICAgEDAgUEAwEAAAAAAAABAgMEETEFEiETQVFhcaHxQoGRwTKx0SL/2gAMAwEAAhEDEQA/AO4oiIAiIgCK26oaDYkA/wDu1etlB1EHgQUBWiIgCIiAIiIAiIgCIiAIiIAiIgCIiAIiIAiIgCIiAIiIAiIgCIiAIi8KAt05vnHe8+QA9lW6IHWAeIBVukHwDvu7+4k+6vIC1+GbutwJb6J1O5zx439QVdRAWsx3zA8R9il3bmnxI8rK6iAtdadrHeFj7p+IG3OHFp9bK6qTIN45oCkTtP6m81cXhAO4+at/hm7gOHw+iAuorXUbi4eJPqnVu2O5gH0sgLqK18f0Hm37p1jtrT4EH1sgLqK11+8OHgT6L0VDfmHjo9UBcReB19WleoAiIgCIiAIiIAiIgCIiAIiIArdQ6zXHuPoris1XZtvIHNwCAuRtsANwA8lUiIAiKN40xnHk6K+h87geqivr+p25oXqWzKMXJ6RtMtZfho4+snkbG3YNbnHc1uslcyy70ySvJbSxtib/AN2T4nnvDdQ81BMr5Zlq5TLO8vedXytHytGwLCW5QS5JWrEjHzLyzbV2LKuc/mVM57g4sbybZa41b/nk/ud91aRZnWopcIzaXLc8RvHPOw9z3W5XspNknpXrIbB5ZUM2h4s+3c8KGIjSZjKuEuUd3w10l01YQwkwTH9t/ZJ3MfqKly+Wl0bAHSU6JzKarcXRGzY5jpdGdgedre/YtUofAj7sTS7ofwdfReNdcXGkawVRUzBjHOOoNJ5BaW0ltnAlt6Li8IXPP+uTZxIkeLkm17gX2WWVFiqdv6mu4tHsoSPW6Hymv4JN9Mt9mibGnaf0t5aea8/DjYXD+oqPZIxPJNKyMsZp1uFxYDbZSZSmPk15Ee6vg4bqZ0vtmWuqOx58QD7JZ+9p8CPcqzXZUjhzesdm31aCdSpiy1C7VKznb1WburUu1yW/hsxVU2u5J6MjPd8oPA/eyddva8eF/RVMna7U5p4EFVrYmnwYa0WvxLd9uN2+qra8HUQeGlVKh0LTra0+AXp4VorLoAATpFgTocQOV7Kikqg5o03NhfjZAZKIiAIiIArM+tg+q/JpKvKy7TI3ua4+YH3QF5ERAYmVcpMpoZJpDZjGlx3m2oDvK+dcu5akrJ3zyH4nHQ3Yxn6WDuC6P0z5aIZBStPaPWyD6WmzRzvyXKFvrXjZLYdWo979wiIth3BFvcL4Onyg8iIBsYNnzO7De4bz3LoNP0KwBvx1E7nbS0NYL9w0rFySNFl8IPTZyFF0HEfRFLAx0lM8ztAuYyLS2Hy20O4Ln5H/AMXqafBnCyM1uLPERF6bDsvRLigzwuppHXkhALCdJdCTYcjo5KR4vrMyAMGt7reA0lcYwDlM0+UaZ17Nc/qn/wAXi3rZdpxdT51PnbWuB8DoKi+pKSx59vw/P2I704wyot8N/f8AJCERFQCwkowXR/6kp/g31KlSwci0fVQRt22ueJ0q/XVIije8/paT47FesOpY+Ok/ZbZVcmbuubXx0iF4orOsqHAamDMHHWfNaheveSSTrJJPErxUq6122Sm/dlmqgq4KK9j1riNRIPdoXRsk05jhjaSS7NBcTpNzpKhGQaPraiNuwHOdwbp9V0JWDolL1K1/RER1SzzGC+oREVjIYxMqzZkErt0bvRaXDUhc0XWfimXNpZO/NbzcPssbDcVmBAb9ERAEREAVlnbd3NaPMlXlZg1vP1W5AD2KAvIiIDgnSdW9ZlOfcwMiA4NufMqKrZYkqetrKp++eTkHWHotaupcFgrWoJfILJydQOnmihZ2nvawd1za/hrWMpj0UUuflJhtcMikf42DQfNG9IWS7YuR2bImR2UkEcEYs1rbd7nbXHvJWciLlIBvb2wuHdK2RW09dnsFmzM6wgag8GzuetdxXHOmetDquCMEExwuLu4vdoB8B5rOvk6sNv1PBz1ERdBMmTk51poSNYmjI454X0Xl4XpZf4L58w7SmWrpmDSTMzkDc+QX0BiWTNpZNlwGjxIXDnNKmW/g/wDRw3+bq0vj/ZAVn5Co+tqI27Ac93ALAWyyLlcUznOzM8kAXvawVBxuz1Y+o/G/JM3d3pvs5OgKOYyrLRsjGtxueDf917FjSM9pj28io/lzKInmLxfNsGtvuCsnUOoVSx3GqW2/H7ELiYlkbk5rSRr0RehtyANZNhxKqhPEswZR2a+U7TmDgNfqpKsbJtJ1UUbNzRfjtWSr9h0+jTGHy8/UqeTb6trkERF1Ggj2MpPyom/NKPIFZmQo7MHBavFr7y07Nwc7mQPZbzJbLMHBAZqIiAIiIAVZpezfeSebiq5XWaTuBPkkLbNaNzQPJAVqxXTZkUj/AJWOdyaSr60eNqrqsn1btX5LgOLtA9V6jKK20j54e/OJdvJdzN/dUoEXUWELpHQpS3nqpPljYwcXOJPoFzddf6FaW1NUSfNMG+DWD7rCfBz5T1UzoyLWYixBHQwOmlOgaGtHae86mtXFMRdIVVWFw6wwwnVDGc3R9TtblpjFsjKceVvlcHUcWdIsFE1zWObNUW+GJpuGnfI4auGtcPyhXvnlfLI7Oke4uce87B3BY6LfGKRK00RqXjkIirihc9zWtBc5xDWtGkknQAFkbia9EeRjNW9cR8ELC6+zrHfCByuV0jGlXZkce0nOPBur1VeC8ODJ1G1jrdYfzJ3fWRpF9wAso5lev6+Zz/06mj6RqVf6zkqFPYuZeP29zlx16+R3+0TCRZWTsnPncWstcC5voFlly4Ynb+jO4EFVOGPbOPdGLaJaV1cX2ykkzVIrtRSujNntLTa9ju3q0tLTT0zYmmtoL0FeIvD0zIsrzN1Sv53UiwxlOaZ7s92cxrdwuSdQuoip1haj6unaTrec88NgUz0p22Xpdz0vL8sjM9Vwqb0ts3CIit5XiI5bdnVoHysaOdz7qT0bbNCil8+tmO5+b/aAPZS6AfCEBcREQBERAWavskb7DmQPdXlZn1sH1jyufZXkAUM6WqnMya8fPJGzwzrn0UzXNemuqtBSx/NK5/g1v/JZR5N+Ot2ROSIiLpJ09XdeiqlzMmQn53SSc3aPRcJK+jcH0vVUFIzdAy/Ei59Vqs4OHNf/AIS+ZzTplykXVUMFzmMiD7b3vJ08hZc9U96Y6Mtro5LaHwAA97HEEeY5qBLOPBvx9elHQREWRvK4oi9wa0FzibNaBdxJ2ALsfR50efhLVFQAagj4GaxCD/5ei2mBcMUkEEU8DesdIwO699nP0jSBsbp3JiDEjruiju2xzXvOh3eG7uKj8zNhjw7pfk4HOeRL06/C92eYoy7nXhjOj9xw2/SFGURUTJyJ5FjnL8EzTTGmHbEmGDaPNjdIdbjYfxH+6kSiOT8WNiYxhiNmgC4PmsqpxfG6N4aHh5aQ240XPerPiZmLTQoKS8L7kHkY19lrk48s0GXKzrZ5HbAc1vALARFU7Juybm+WT8IqEVFexUxhcQBrJAHEqajCUJaLhwdYXIOs20laDC1H1lQCdTBn+OxTpWHpGHCdcp2RT3xv5ER1DIlCajB61yRyTBTNkjx3GxUhjYGgAagABwCqRTlONVS26462Rdl9lulN70EJRY+UJc2KR25jj/iV0GkieQvjle/e9x5uKmTBoCieFYtAKlwQBERAEREBZfpezuDj6D3V5WW6ZD3NA5kn2CvIAuP9NNVeppo/lhc48XO+wXYFwjpUqs/Kco+RkbP8bn1WdfJ2Ya3YRFERdBMFcMWc5jfmc1vNwHuvp2lizGMbua1vIAL50wpS9bXUjN87CeAOcfRfSC02EZnPzFES6S8N/jKNxYLzQ3lj3kAfGzxHouDr6lXBOkXDf4Ksdmi0Mt5YtwJPxM8D6pW/Y9wrf0P9iKoiLcSR1DoexLYvonnQbyQX3/rYPXmpTjDJliJmjQbNfx2O9lw6grXQSxyxmz2OD2nvB1cNi+iMl5QjyhRskGlkjPiHyu1ObxBUbn4qyKnD+PqcM28e5Wrh8kCRXqulMT3MdrabcdxWZTYfmkYJGNBadXxAHkVQ402Sk4xi21yialZCKUm1pmtRZsuRZ264n8QM4eSwljOuUPEk19fB7GcZf4vYREWBmXIahzNLXObwNlmR4gnb+448bFa9ZWTKTrZo2bC4X/iNa31TtUlGuTW/marIw03NInuSnvdCx0ml5Fzotr1eSy141tgB4L1X6Ee2KTe9FSk9tsLV4llzaWXvAb/c4BbRaHGMloGN+aVvkCVmYlvDMVmhSJajIMdmDgtugCIiAIiFAWYNbz9QHJo+5V5WaXs33ucf8iryAL5xxdVdbX1b987wODfh9l9GP1G2uxtxXz/lLBNcHyPdTSnOe5xLbP1uJ2LZWd+E0m22RxFlT5Lmj7cMrOLHD2WKdGvR5LeSieyWdF1Ln5Th+hsknJth6rvK470L02dV1Enywhvi5/8AxXYlos5IjMe7NfIKNdIGG/xtG9rR+cz82E7c4DS3xGjkpKiwT0csZOLTR8t28N479y8Uy6UMNfhasyMFoZrvG5sn62+/ioaulPa2T8JqcVJBdF6H8RmOZ9I8/BJd8W4SAaR4j0XOls8MzmOtpXDWKiPxu4C3mvJLaMbYKcGmdsxdkzOMT2j4i4RHvv2T6qQ0sAjY1g1NaByCqkiDrXF7EOHEaiq1GV40a7Z2r9WiHnc51xg/bZrcQVnVU7zqJGY3i5c/UjxnWXeyMamjOdxOryUcVX6td6mQ4riPj/pO9Pq7Kd/ELb4cySKiR2eCWNbpsbaTq0rUKc4Uo8yAOOt5z/DYtXTcdX3pSXheWZ5tzqqbXL4LMmDIjqdIO64Psr+ScONp5C8OLjm5ouLWvrW4RWuODjxkpxgk0QMsq6UXFy8BERdhzBRjGD7vp2d7nHyA91J1EsQOzqxjfljHmSUBvsksswcFnrGoW2aFkoAiIgCpkdYE911UrNYfgdwKA9phZjf4i/G2lXVZjqmHQHtPdcXV5AEREBS5gOsA8dKwqnINPJ24IXcWNvzss9EPU2uDX5Lw/BSl5giZEX2z80WvbUtgiIG2/LCIiHhosaYcFfSSRaBIPjicdkg1eB1eK+faukfC90cjXRyNNnMcLEH7L6fWtythynqv9eGOQ7HEWcP6hpWcZ6OvHyfS8Pg+bFOei/Cb6ipZUvaRTxHODiLZ8g7IbvA13XRqbo3oI3Zwp2uN7gOLnjkTZSSOINAa0BrRoDQLADcAFlKz4G63MUo6iipeOdYEnUBcr1Y+UKd0kT2NIaXC2drtvWibai2ltnBFJtJnPcoVXWyvfvcbcNnksdb6XB0w1Ojd4kLElw5UN/bJ4EFUW3EyduUoP+C0wyKdJRkjCpKcySMYNbnAffyXSoow1oaNQAA4BRTCuSXNmc+Rjm5rfhuLfEd3gparD0bHddbnJeW/siI6lcpzUVwv7CIimyLCIiAKHTnPrpTucG8mgKYqF5IOfPK7fI4/5FAS+nFmhXVTGNAVSAIiIArVQ27SrqICCZayO5ziRdattJUR9mSVvBzvuulPpwditOye07EBAY8tVjP3XH+QDvULJjxrVN7TIn/0lp8ipc/IzTsCxZMPNOwIDTRdIJHbg/td9ws2HH8B7TZWeAcPIr2XC7TsWHLhMbkBuYcXUrv3Q3ucHN9Qs+HKkT+zLE7g5v3UKlwodyw5cMOGxAdKDr6tK9XLxkyaPsukbwcQrzMo1keqaQ8fi9UB0pFz6PF9WzX1b+LbelllRdIEg7cDT/FxHkQgJuiisPSDEe3HK3hZ3uFnQ40pXfuFv8muHsgN4iwYMtwP7M0R/qAPIrMZIDqIPA3QFSIiAIiIAiIgCIiAtVUubG925jjyBKimFo9q3+IZc2lmP0W5m3utXhiKzQgJIF6iIAiIgCIiAIiIAiIgC8svUQFJjG5UGnB2K6iAxnUDTsVl+SWnYFnogNPJkBp2BYkuGWnYpGiAiEuFBuWFLhPuU8sqSwIDnMuFnDYsc5EkZ2S9vAkei6YYBuVt1E07EBztlRVx9maXgSSORWRHiisZrc1/8mj1FlN35LadgWPJkJp2BARqLHsw7cMbuBc37rNi6QmfrhkbwId9lmy4aadiw5cKjcgMyHHFM7W57P5NPtdZ0OIqd+qeLxOb6qMy4TWFLhU7kB0GOoa7sua7gQfRXFzB2Hnt1XHDQvWNqY+zLMP6j7oCZYwktT2+aRg87+yqw/HZg4KJNqKibNbK8vaHXFwL31awFN8kxZrBwQGwREQBERAEREAREQBERAEREAREQBERAEREAREQBERAEREAREQHhaFSYRuVaICw6kaditPya07FmIgMBuSmg6gsyNlgq0QBERAEREB//9k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3074" name="Picture 2" descr="http://simpleicon.com/wp-content/uploads/stopwatch-1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262787" y="1196752"/>
            <a:ext cx="765597" cy="765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ZoneTexte 6"/>
          <p:cNvSpPr txBox="1"/>
          <p:nvPr/>
        </p:nvSpPr>
        <p:spPr>
          <a:xfrm>
            <a:off x="8020490" y="1287162"/>
            <a:ext cx="74236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dirty="0" smtClean="0"/>
              <a:t>10’</a:t>
            </a:r>
            <a:endParaRPr lang="fr-FR" sz="3200" dirty="0"/>
          </a:p>
        </p:txBody>
      </p:sp>
      <p:sp>
        <p:nvSpPr>
          <p:cNvPr id="13" name="ZoneTexte 12"/>
          <p:cNvSpPr txBox="1"/>
          <p:nvPr/>
        </p:nvSpPr>
        <p:spPr>
          <a:xfrm>
            <a:off x="460375" y="3494028"/>
            <a:ext cx="3107532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5088" lvl="1">
              <a:buSzPct val="100000"/>
            </a:pPr>
            <a:r>
              <a:rPr lang="fr-FR" sz="2000" b="1" dirty="0" smtClean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ests</a:t>
            </a:r>
            <a:endParaRPr lang="fr-FR" sz="2000" b="1" dirty="0">
              <a:solidFill>
                <a:schemeClr val="accent5">
                  <a:lumMod val="75000"/>
                </a:schemeClr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65088" lvl="1">
              <a:buSzPct val="100000"/>
            </a:pPr>
            <a:r>
              <a:rPr lang="fr-FR" sz="2000" b="1" dirty="0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 err="1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Mele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 -&gt; 100 </a:t>
            </a:r>
          </a:p>
          <a:p>
            <a:pPr marL="65088" lvl="1">
              <a:buSzPct val="100000"/>
            </a:pP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Pommes -&gt; 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200</a:t>
            </a:r>
          </a:p>
          <a:p>
            <a:pPr marL="65088" lvl="1">
              <a:buSzPct val="100000"/>
            </a:pPr>
            <a:r>
              <a:rPr lang="fr-FR" sz="2000" b="1" dirty="0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 smtClean="0"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Pommes</a:t>
            </a:r>
            <a:r>
              <a:rPr lang="fr-FR" sz="2000" b="1" dirty="0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 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-&gt; 300 </a:t>
            </a:r>
          </a:p>
          <a:p>
            <a:pPr marL="65088" lvl="1">
              <a:buSzPct val="100000"/>
            </a:pP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 err="1" smtClean="0"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Apples</a:t>
            </a:r>
            <a:r>
              <a:rPr lang="fr-FR" sz="2000" b="1" dirty="0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 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-&gt; 400 </a:t>
            </a:r>
          </a:p>
          <a:p>
            <a:pPr marL="65088" lvl="1">
              <a:buSzPct val="100000"/>
            </a:pP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 smtClean="0"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Pommes</a:t>
            </a:r>
            <a:r>
              <a:rPr lang="fr-FR" sz="2000" b="1" dirty="0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 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-&gt; 400 </a:t>
            </a:r>
          </a:p>
          <a:p>
            <a:pPr marL="65088" lvl="1">
              <a:buSzPct val="100000"/>
            </a:pP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 err="1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Mele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 -&gt; 450 </a:t>
            </a:r>
          </a:p>
          <a:p>
            <a:pPr marL="65088" lvl="1">
              <a:buSzPct val="100000"/>
            </a:pP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Cherries 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-&gt; 525 </a:t>
            </a:r>
          </a:p>
          <a:p>
            <a:pPr marL="65088" lvl="1">
              <a:buSzPct val="100000"/>
            </a:pP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Cherries -&gt; 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580</a:t>
            </a:r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0811" y="2037361"/>
            <a:ext cx="1909548" cy="2149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03627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FC98-F726-4387-BD61-63831D042500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460375" y="1161913"/>
            <a:ext cx="8229600" cy="782960"/>
          </a:xfrm>
        </p:spPr>
        <p:txBody>
          <a:bodyPr/>
          <a:lstStyle/>
          <a:p>
            <a:r>
              <a:rPr lang="fr-FR" sz="3600" dirty="0" err="1" smtClean="0"/>
              <a:t>Iteration</a:t>
            </a:r>
            <a:r>
              <a:rPr lang="fr-FR" sz="3600" dirty="0" smtClean="0"/>
              <a:t> 5</a:t>
            </a:r>
            <a:r>
              <a:rPr lang="fr-FR" sz="1800" dirty="0"/>
              <a:t/>
            </a:r>
            <a:br>
              <a:rPr lang="fr-FR" sz="1800" dirty="0"/>
            </a:br>
            <a:endParaRPr lang="fr-FR" sz="1800" dirty="0"/>
          </a:p>
        </p:txBody>
      </p:sp>
      <p:sp>
        <p:nvSpPr>
          <p:cNvPr id="5" name="AutoShape 2" descr="data:image/jpeg;base64,/9j/4AAQSkZJRgABAQAAAQABAAD/2wCEAAkGBhQQEBASEhIPEBAWEBIQEA8UFRQPEBIQFBAVFBQQEhIXGyYeFxkjGRIUHy8gIycpLCwsFR4xNTAqNSYrLCkBCQoKDgwOGg8PGiklHyQtKTQpLDA1KiksLC0sLCw1NSwqLCwvLDQsLC0pLCotLCwsKSwsLCwsLCwsLCksLCwpKf/AABEIAMsA+AMBIgACEQEDEQH/xAAcAAEAAQUBAQAAAAAAAAAAAAAABgIDBAUHAQj/xAA+EAABAwIBCAgEBQMDBQAAAAABAAIDBBEGBRIhMUFRcZEHEzJhgaGxwSJSYtEUI0JDcoKSojPh4hVTwvDx/8QAGgEBAAIDAQAAAAAAAAAAAAAAAAUGAgMEAf/EACwRAAICAgEDAgUEAwEAAAAAAAABAgMEETEFEiETQVFhcaHxQoGRwTKx0SL/2gAMAwEAAhEDEQA/AO4oiIAiIgCK26oaDYkA/wDu1etlB1EHgQUBWiIgCIiAIiIAiIgCIiAIiIAiIgCIiAIiIAiIgCIiAIiIAiIgCIiAIi8KAt05vnHe8+QA9lW6IHWAeIBVukHwDvu7+4k+6vIC1+GbutwJb6J1O5zx439QVdRAWsx3zA8R9il3bmnxI8rK6iAtdadrHeFj7p+IG3OHFp9bK6qTIN45oCkTtP6m81cXhAO4+at/hm7gOHw+iAuorXUbi4eJPqnVu2O5gH0sgLqK18f0Hm37p1jtrT4EH1sgLqK11+8OHgT6L0VDfmHjo9UBcReB19WleoAiIgCIiAIiIAiIgCIiAIiIArdQ6zXHuPoris1XZtvIHNwCAuRtsANwA8lUiIAiKN40xnHk6K+h87geqivr+p25oXqWzKMXJ6RtMtZfho4+snkbG3YNbnHc1uslcyy70ySvJbSxtib/AN2T4nnvDdQ81BMr5Zlq5TLO8vedXytHytGwLCW5QS5JWrEjHzLyzbV2LKuc/mVM57g4sbybZa41b/nk/ud91aRZnWopcIzaXLc8RvHPOw9z3W5XspNknpXrIbB5ZUM2h4s+3c8KGIjSZjKuEuUd3w10l01YQwkwTH9t/ZJ3MfqKly+Wl0bAHSU6JzKarcXRGzY5jpdGdgedre/YtUofAj7sTS7ofwdfReNdcXGkawVRUzBjHOOoNJ5BaW0ltnAlt6Li8IXPP+uTZxIkeLkm17gX2WWVFiqdv6mu4tHsoSPW6Hymv4JN9Mt9mibGnaf0t5aea8/DjYXD+oqPZIxPJNKyMsZp1uFxYDbZSZSmPk15Ee6vg4bqZ0vtmWuqOx58QD7JZ+9p8CPcqzXZUjhzesdm31aCdSpiy1C7VKznb1WburUu1yW/hsxVU2u5J6MjPd8oPA/eyddva8eF/RVMna7U5p4EFVrYmnwYa0WvxLd9uN2+qra8HUQeGlVKh0LTra0+AXp4VorLoAATpFgTocQOV7Kikqg5o03NhfjZAZKIiAIiIArM+tg+q/JpKvKy7TI3ua4+YH3QF5ERAYmVcpMpoZJpDZjGlx3m2oDvK+dcu5akrJ3zyH4nHQ3Yxn6WDuC6P0z5aIZBStPaPWyD6WmzRzvyXKFvrXjZLYdWo979wiIth3BFvcL4Onyg8iIBsYNnzO7De4bz3LoNP0KwBvx1E7nbS0NYL9w0rFySNFl8IPTZyFF0HEfRFLAx0lM8ztAuYyLS2Hy20O4Ln5H/AMXqafBnCyM1uLPERF6bDsvRLigzwuppHXkhALCdJdCTYcjo5KR4vrMyAMGt7reA0lcYwDlM0+UaZ17Nc/qn/wAXi3rZdpxdT51PnbWuB8DoKi+pKSx59vw/P2I704wyot8N/f8AJCERFQCwkowXR/6kp/g31KlSwci0fVQRt22ueJ0q/XVIije8/paT47FesOpY+Ok/ZbZVcmbuubXx0iF4orOsqHAamDMHHWfNaheveSSTrJJPErxUq6122Sm/dlmqgq4KK9j1riNRIPdoXRsk05jhjaSS7NBcTpNzpKhGQaPraiNuwHOdwbp9V0JWDolL1K1/RER1SzzGC+oREVjIYxMqzZkErt0bvRaXDUhc0XWfimXNpZO/NbzcPssbDcVmBAb9ERAEREAVlnbd3NaPMlXlZg1vP1W5AD2KAvIiIDgnSdW9ZlOfcwMiA4NufMqKrZYkqetrKp++eTkHWHotaupcFgrWoJfILJydQOnmihZ2nvawd1za/hrWMpj0UUuflJhtcMikf42DQfNG9IWS7YuR2bImR2UkEcEYs1rbd7nbXHvJWciLlIBvb2wuHdK2RW09dnsFmzM6wgag8GzuetdxXHOmetDquCMEExwuLu4vdoB8B5rOvk6sNv1PBz1ERdBMmTk51poSNYmjI454X0Xl4XpZf4L58w7SmWrpmDSTMzkDc+QX0BiWTNpZNlwGjxIXDnNKmW/g/wDRw3+bq0vj/ZAVn5Co+tqI27Ac93ALAWyyLlcUznOzM8kAXvawVBxuz1Y+o/G/JM3d3pvs5OgKOYyrLRsjGtxueDf917FjSM9pj28io/lzKInmLxfNsGtvuCsnUOoVSx3GqW2/H7ELiYlkbk5rSRr0RehtyANZNhxKqhPEswZR2a+U7TmDgNfqpKsbJtJ1UUbNzRfjtWSr9h0+jTGHy8/UqeTb6trkERF1Ggj2MpPyom/NKPIFZmQo7MHBavFr7y07Nwc7mQPZbzJbLMHBAZqIiAIiIAVZpezfeSebiq5XWaTuBPkkLbNaNzQPJAVqxXTZkUj/AJWOdyaSr60eNqrqsn1btX5LgOLtA9V6jKK20j54e/OJdvJdzN/dUoEXUWELpHQpS3nqpPljYwcXOJPoFzddf6FaW1NUSfNMG+DWD7rCfBz5T1UzoyLWYixBHQwOmlOgaGtHae86mtXFMRdIVVWFw6wwwnVDGc3R9TtblpjFsjKceVvlcHUcWdIsFE1zWObNUW+GJpuGnfI4auGtcPyhXvnlfLI7Oke4uce87B3BY6LfGKRK00RqXjkIirihc9zWtBc5xDWtGkknQAFkbia9EeRjNW9cR8ELC6+zrHfCByuV0jGlXZkce0nOPBur1VeC8ODJ1G1jrdYfzJ3fWRpF9wAso5lev6+Zz/06mj6RqVf6zkqFPYuZeP29zlx16+R3+0TCRZWTsnPncWstcC5voFlly4Ynb+jO4EFVOGPbOPdGLaJaV1cX2ykkzVIrtRSujNntLTa9ju3q0tLTT0zYmmtoL0FeIvD0zIsrzN1Sv53UiwxlOaZ7s92cxrdwuSdQuoip1haj6unaTrec88NgUz0p22Xpdz0vL8sjM9Vwqb0ts3CIit5XiI5bdnVoHysaOdz7qT0bbNCil8+tmO5+b/aAPZS6AfCEBcREQBERAWavskb7DmQPdXlZn1sH1jyufZXkAUM6WqnMya8fPJGzwzrn0UzXNemuqtBSx/NK5/g1v/JZR5N+Ot2ROSIiLpJ09XdeiqlzMmQn53SSc3aPRcJK+jcH0vVUFIzdAy/Ei59Vqs4OHNf/AIS+ZzTplykXVUMFzmMiD7b3vJ08hZc9U96Y6Mtro5LaHwAA97HEEeY5qBLOPBvx9elHQREWRvK4oi9wa0FzibNaBdxJ2ALsfR50efhLVFQAagj4GaxCD/5ei2mBcMUkEEU8DesdIwO699nP0jSBsbp3JiDEjruiju2xzXvOh3eG7uKj8zNhjw7pfk4HOeRL06/C92eYoy7nXhjOj9xw2/SFGURUTJyJ5FjnL8EzTTGmHbEmGDaPNjdIdbjYfxH+6kSiOT8WNiYxhiNmgC4PmsqpxfG6N4aHh5aQ240XPerPiZmLTQoKS8L7kHkY19lrk48s0GXKzrZ5HbAc1vALARFU7Juybm+WT8IqEVFexUxhcQBrJAHEqajCUJaLhwdYXIOs20laDC1H1lQCdTBn+OxTpWHpGHCdcp2RT3xv5ER1DIlCajB61yRyTBTNkjx3GxUhjYGgAagABwCqRTlONVS26462Rdl9lulN70EJRY+UJc2KR25jj/iV0GkieQvjle/e9x5uKmTBoCieFYtAKlwQBERAEREBZfpezuDj6D3V5WW6ZD3NA5kn2CvIAuP9NNVeppo/lhc48XO+wXYFwjpUqs/Kco+RkbP8bn1WdfJ2Ya3YRFERdBMFcMWc5jfmc1vNwHuvp2lizGMbua1vIAL50wpS9bXUjN87CeAOcfRfSC02EZnPzFES6S8N/jKNxYLzQ3lj3kAfGzxHouDr6lXBOkXDf4Ksdmi0Mt5YtwJPxM8D6pW/Y9wrf0P9iKoiLcSR1DoexLYvonnQbyQX3/rYPXmpTjDJliJmjQbNfx2O9lw6grXQSxyxmz2OD2nvB1cNi+iMl5QjyhRskGlkjPiHyu1ObxBUbn4qyKnD+PqcM28e5Wrh8kCRXqulMT3MdrabcdxWZTYfmkYJGNBadXxAHkVQ402Sk4xi21yialZCKUm1pmtRZsuRZ264n8QM4eSwljOuUPEk19fB7GcZf4vYREWBmXIahzNLXObwNlmR4gnb+448bFa9ZWTKTrZo2bC4X/iNa31TtUlGuTW/marIw03NInuSnvdCx0ml5Fzotr1eSy141tgB4L1X6Ee2KTe9FSk9tsLV4llzaWXvAb/c4BbRaHGMloGN+aVvkCVmYlvDMVmhSJajIMdmDgtugCIiAIiFAWYNbz9QHJo+5V5WaXs33ucf8iryAL5xxdVdbX1b987wODfh9l9GP1G2uxtxXz/lLBNcHyPdTSnOe5xLbP1uJ2LZWd+E0m22RxFlT5Lmj7cMrOLHD2WKdGvR5LeSieyWdF1Ln5Th+hsknJth6rvK470L02dV1Enywhvi5/8AxXYlos5IjMe7NfIKNdIGG/xtG9rR+cz82E7c4DS3xGjkpKiwT0csZOLTR8t28N479y8Uy6UMNfhasyMFoZrvG5sn62+/ioaulPa2T8JqcVJBdF6H8RmOZ9I8/BJd8W4SAaR4j0XOls8MzmOtpXDWKiPxu4C3mvJLaMbYKcGmdsxdkzOMT2j4i4RHvv2T6qQ0sAjY1g1NaByCqkiDrXF7EOHEaiq1GV40a7Z2r9WiHnc51xg/bZrcQVnVU7zqJGY3i5c/UjxnWXeyMamjOdxOryUcVX6td6mQ4riPj/pO9Pq7Kd/ELb4cySKiR2eCWNbpsbaTq0rUKc4Uo8yAOOt5z/DYtXTcdX3pSXheWZ5tzqqbXL4LMmDIjqdIO64Psr+ScONp5C8OLjm5ouLWvrW4RWuODjxkpxgk0QMsq6UXFy8BERdhzBRjGD7vp2d7nHyA91J1EsQOzqxjfljHmSUBvsksswcFnrGoW2aFkoAiIgCpkdYE911UrNYfgdwKA9phZjf4i/G2lXVZjqmHQHtPdcXV5AEREBS5gOsA8dKwqnINPJ24IXcWNvzss9EPU2uDX5Lw/BSl5giZEX2z80WvbUtgiIG2/LCIiHhosaYcFfSSRaBIPjicdkg1eB1eK+faukfC90cjXRyNNnMcLEH7L6fWtythynqv9eGOQ7HEWcP6hpWcZ6OvHyfS8Pg+bFOei/Cb6ipZUvaRTxHODiLZ8g7IbvA13XRqbo3oI3Zwp2uN7gOLnjkTZSSOINAa0BrRoDQLADcAFlKz4G63MUo6iipeOdYEnUBcr1Y+UKd0kT2NIaXC2drtvWibai2ltnBFJtJnPcoVXWyvfvcbcNnksdb6XB0w1Ojd4kLElw5UN/bJ4EFUW3EyduUoP+C0wyKdJRkjCpKcySMYNbnAffyXSoow1oaNQAA4BRTCuSXNmc+Rjm5rfhuLfEd3gparD0bHddbnJeW/siI6lcpzUVwv7CIimyLCIiAKHTnPrpTucG8mgKYqF5IOfPK7fI4/5FAS+nFmhXVTGNAVSAIiIArVQ27SrqICCZayO5ziRdattJUR9mSVvBzvuulPpwditOye07EBAY8tVjP3XH+QDvULJjxrVN7TIn/0lp8ipc/IzTsCxZMPNOwIDTRdIJHbg/td9ws2HH8B7TZWeAcPIr2XC7TsWHLhMbkBuYcXUrv3Q3ucHN9Qs+HKkT+zLE7g5v3UKlwodyw5cMOGxAdKDr6tK9XLxkyaPsukbwcQrzMo1keqaQ8fi9UB0pFz6PF9WzX1b+LbelllRdIEg7cDT/FxHkQgJuiisPSDEe3HK3hZ3uFnQ40pXfuFv8muHsgN4iwYMtwP7M0R/qAPIrMZIDqIPA3QFSIiAIiIAiIgCIiAtVUubG925jjyBKimFo9q3+IZc2lmP0W5m3utXhiKzQgJIF6iIAiIgCIiAIiIAiIgC8svUQFJjG5UGnB2K6iAxnUDTsVl+SWnYFnogNPJkBp2BYkuGWnYpGiAiEuFBuWFLhPuU8sqSwIDnMuFnDYsc5EkZ2S9vAkei6YYBuVt1E07EBztlRVx9maXgSSORWRHiisZrc1/8mj1FlN35LadgWPJkJp2BARqLHsw7cMbuBc37rNi6QmfrhkbwId9lmy4aadiw5cKjcgMyHHFM7W57P5NPtdZ0OIqd+qeLxOb6qMy4TWFLhU7kB0GOoa7sua7gQfRXFzB2Hnt1XHDQvWNqY+zLMP6j7oCZYwktT2+aRg87+yqw/HZg4KJNqKibNbK8vaHXFwL31awFN8kxZrBwQGwREQBERAEREAREQBERAEREAREQBERAEREAREQBERAEREAREQHhaFSYRuVaICw6kaditPya07FmIgMBuSmg6gsyNlgq0QBERAEREB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6" name="AutoShape 4" descr="data:image/jpeg;base64,/9j/4AAQSkZJRgABAQAAAQABAAD/2wCEAAkGBhQQEBASEhIPEBAWEBIQEA8UFRQPEBIQFBAVFBQQEhIXGyYeFxkjGRIUHy8gIycpLCwsFR4xNTAqNSYrLCkBCQoKDgwOGg8PGiklHyQtKTQpLDA1KiksLC0sLCw1NSwqLCwvLDQsLC0pLCotLCwsKSwsLCwsLCwsLCksLCwpKf/AABEIAMsA+AMBIgACEQEDEQH/xAAcAAEAAQUBAQAAAAAAAAAAAAAABgIDBAUHAQj/xAA+EAABAwIBCAgEBQMDBQAAAAABAAIDBBEGBRIhMUFRcZEHEzJhgaGxwSJSYtEUI0JDcoKSojPh4hVTwvDx/8QAGgEBAAIDAQAAAAAAAAAAAAAAAAUGAgMEAf/EACwRAAICAgEDAgUEAwEAAAAAAAABAgMEETEFEiETQVFhcaHxQoGRwTKx0SL/2gAMAwEAAhEDEQA/AO4oiIAiIgCK26oaDYkA/wDu1etlB1EHgQUBWiIgCIiAIiIAiIgCIiAIiIAiIgCIiAIiIAiIgCIiAIiIAiIgCIiAIi8KAt05vnHe8+QA9lW6IHWAeIBVukHwDvu7+4k+6vIC1+GbutwJb6J1O5zx439QVdRAWsx3zA8R9il3bmnxI8rK6iAtdadrHeFj7p+IG3OHFp9bK6qTIN45oCkTtP6m81cXhAO4+at/hm7gOHw+iAuorXUbi4eJPqnVu2O5gH0sgLqK18f0Hm37p1jtrT4EH1sgLqK11+8OHgT6L0VDfmHjo9UBcReB19WleoAiIgCIiAIiIAiIgCIiAIiIArdQ6zXHuPoris1XZtvIHNwCAuRtsANwA8lUiIAiKN40xnHk6K+h87geqivr+p25oXqWzKMXJ6RtMtZfho4+snkbG3YNbnHc1uslcyy70ySvJbSxtib/AN2T4nnvDdQ81BMr5Zlq5TLO8vedXytHytGwLCW5QS5JWrEjHzLyzbV2LKuc/mVM57g4sbybZa41b/nk/ud91aRZnWopcIzaXLc8RvHPOw9z3W5XspNknpXrIbB5ZUM2h4s+3c8KGIjSZjKuEuUd3w10l01YQwkwTH9t/ZJ3MfqKly+Wl0bAHSU6JzKarcXRGzY5jpdGdgedre/YtUofAj7sTS7ofwdfReNdcXGkawVRUzBjHOOoNJ5BaW0ltnAlt6Li8IXPP+uTZxIkeLkm17gX2WWVFiqdv6mu4tHsoSPW6Hymv4JN9Mt9mibGnaf0t5aea8/DjYXD+oqPZIxPJNKyMsZp1uFxYDbZSZSmPk15Ee6vg4bqZ0vtmWuqOx58QD7JZ+9p8CPcqzXZUjhzesdm31aCdSpiy1C7VKznb1WburUu1yW/hsxVU2u5J6MjPd8oPA/eyddva8eF/RVMna7U5p4EFVrYmnwYa0WvxLd9uN2+qra8HUQeGlVKh0LTra0+AXp4VorLoAATpFgTocQOV7Kikqg5o03NhfjZAZKIiAIiIArM+tg+q/JpKvKy7TI3ua4+YH3QF5ERAYmVcpMpoZJpDZjGlx3m2oDvK+dcu5akrJ3zyH4nHQ3Yxn6WDuC6P0z5aIZBStPaPWyD6WmzRzvyXKFvrXjZLYdWo979wiIth3BFvcL4Onyg8iIBsYNnzO7De4bz3LoNP0KwBvx1E7nbS0NYL9w0rFySNFl8IPTZyFF0HEfRFLAx0lM8ztAuYyLS2Hy20O4Ln5H/AMXqafBnCyM1uLPERF6bDsvRLigzwuppHXkhALCdJdCTYcjo5KR4vrMyAMGt7reA0lcYwDlM0+UaZ17Nc/qn/wAXi3rZdpxdT51PnbWuB8DoKi+pKSx59vw/P2I704wyot8N/f8AJCERFQCwkowXR/6kp/g31KlSwci0fVQRt22ueJ0q/XVIije8/paT47FesOpY+Ok/ZbZVcmbuubXx0iF4orOsqHAamDMHHWfNaheveSSTrJJPErxUq6122Sm/dlmqgq4KK9j1riNRIPdoXRsk05jhjaSS7NBcTpNzpKhGQaPraiNuwHOdwbp9V0JWDolL1K1/RER1SzzGC+oREVjIYxMqzZkErt0bvRaXDUhc0XWfimXNpZO/NbzcPssbDcVmBAb9ERAEREAVlnbd3NaPMlXlZg1vP1W5AD2KAvIiIDgnSdW9ZlOfcwMiA4NufMqKrZYkqetrKp++eTkHWHotaupcFgrWoJfILJydQOnmihZ2nvawd1za/hrWMpj0UUuflJhtcMikf42DQfNG9IWS7YuR2bImR2UkEcEYs1rbd7nbXHvJWciLlIBvb2wuHdK2RW09dnsFmzM6wgag8GzuetdxXHOmetDquCMEExwuLu4vdoB8B5rOvk6sNv1PBz1ERdBMmTk51poSNYmjI454X0Xl4XpZf4L58w7SmWrpmDSTMzkDc+QX0BiWTNpZNlwGjxIXDnNKmW/g/wDRw3+bq0vj/ZAVn5Co+tqI27Ac93ALAWyyLlcUznOzM8kAXvawVBxuz1Y+o/G/JM3d3pvs5OgKOYyrLRsjGtxueDf917FjSM9pj28io/lzKInmLxfNsGtvuCsnUOoVSx3GqW2/H7ELiYlkbk5rSRr0RehtyANZNhxKqhPEswZR2a+U7TmDgNfqpKsbJtJ1UUbNzRfjtWSr9h0+jTGHy8/UqeTb6trkERF1Ggj2MpPyom/NKPIFZmQo7MHBavFr7y07Nwc7mQPZbzJbLMHBAZqIiAIiIAVZpezfeSebiq5XWaTuBPkkLbNaNzQPJAVqxXTZkUj/AJWOdyaSr60eNqrqsn1btX5LgOLtA9V6jKK20j54e/OJdvJdzN/dUoEXUWELpHQpS3nqpPljYwcXOJPoFzddf6FaW1NUSfNMG+DWD7rCfBz5T1UzoyLWYixBHQwOmlOgaGtHae86mtXFMRdIVVWFw6wwwnVDGc3R9TtblpjFsjKceVvlcHUcWdIsFE1zWObNUW+GJpuGnfI4auGtcPyhXvnlfLI7Oke4uce87B3BY6LfGKRK00RqXjkIirihc9zWtBc5xDWtGkknQAFkbia9EeRjNW9cR8ELC6+zrHfCByuV0jGlXZkce0nOPBur1VeC8ODJ1G1jrdYfzJ3fWRpF9wAso5lev6+Zz/06mj6RqVf6zkqFPYuZeP29zlx16+R3+0TCRZWTsnPncWstcC5voFlly4Ynb+jO4EFVOGPbOPdGLaJaV1cX2ykkzVIrtRSujNntLTa9ju3q0tLTT0zYmmtoL0FeIvD0zIsrzN1Sv53UiwxlOaZ7s92cxrdwuSdQuoip1haj6unaTrec88NgUz0p22Xpdz0vL8sjM9Vwqb0ts3CIit5XiI5bdnVoHysaOdz7qT0bbNCil8+tmO5+b/aAPZS6AfCEBcREQBERAWavskb7DmQPdXlZn1sH1jyufZXkAUM6WqnMya8fPJGzwzrn0UzXNemuqtBSx/NK5/g1v/JZR5N+Ot2ROSIiLpJ09XdeiqlzMmQn53SSc3aPRcJK+jcH0vVUFIzdAy/Ei59Vqs4OHNf/AIS+ZzTplykXVUMFzmMiD7b3vJ08hZc9U96Y6Mtro5LaHwAA97HEEeY5qBLOPBvx9elHQREWRvK4oi9wa0FzibNaBdxJ2ALsfR50efhLVFQAagj4GaxCD/5ei2mBcMUkEEU8DesdIwO699nP0jSBsbp3JiDEjruiju2xzXvOh3eG7uKj8zNhjw7pfk4HOeRL06/C92eYoy7nXhjOj9xw2/SFGURUTJyJ5FjnL8EzTTGmHbEmGDaPNjdIdbjYfxH+6kSiOT8WNiYxhiNmgC4PmsqpxfG6N4aHh5aQ240XPerPiZmLTQoKS8L7kHkY19lrk48s0GXKzrZ5HbAc1vALARFU7Juybm+WT8IqEVFexUxhcQBrJAHEqajCUJaLhwdYXIOs20laDC1H1lQCdTBn+OxTpWHpGHCdcp2RT3xv5ER1DIlCajB61yRyTBTNkjx3GxUhjYGgAagABwCqRTlONVS26462Rdl9lulN70EJRY+UJc2KR25jj/iV0GkieQvjle/e9x5uKmTBoCieFYtAKlwQBERAEREBZfpezuDj6D3V5WW6ZD3NA5kn2CvIAuP9NNVeppo/lhc48XO+wXYFwjpUqs/Kco+RkbP8bn1WdfJ2Ya3YRFERdBMFcMWc5jfmc1vNwHuvp2lizGMbua1vIAL50wpS9bXUjN87CeAOcfRfSC02EZnPzFES6S8N/jKNxYLzQ3lj3kAfGzxHouDr6lXBOkXDf4Ksdmi0Mt5YtwJPxM8D6pW/Y9wrf0P9iKoiLcSR1DoexLYvonnQbyQX3/rYPXmpTjDJliJmjQbNfx2O9lw6grXQSxyxmz2OD2nvB1cNi+iMl5QjyhRskGlkjPiHyu1ObxBUbn4qyKnD+PqcM28e5Wrh8kCRXqulMT3MdrabcdxWZTYfmkYJGNBadXxAHkVQ402Sk4xi21yialZCKUm1pmtRZsuRZ264n8QM4eSwljOuUPEk19fB7GcZf4vYREWBmXIahzNLXObwNlmR4gnb+448bFa9ZWTKTrZo2bC4X/iNa31TtUlGuTW/marIw03NInuSnvdCx0ml5Fzotr1eSy141tgB4L1X6Ee2KTe9FSk9tsLV4llzaWXvAb/c4BbRaHGMloGN+aVvkCVmYlvDMVmhSJajIMdmDgtugCIiAIiFAWYNbz9QHJo+5V5WaXs33ucf8iryAL5xxdVdbX1b987wODfh9l9GP1G2uxtxXz/lLBNcHyPdTSnOe5xLbP1uJ2LZWd+E0m22RxFlT5Lmj7cMrOLHD2WKdGvR5LeSieyWdF1Ln5Th+hsknJth6rvK470L02dV1Enywhvi5/8AxXYlos5IjMe7NfIKNdIGG/xtG9rR+cz82E7c4DS3xGjkpKiwT0csZOLTR8t28N479y8Uy6UMNfhasyMFoZrvG5sn62+/ioaulPa2T8JqcVJBdF6H8RmOZ9I8/BJd8W4SAaR4j0XOls8MzmOtpXDWKiPxu4C3mvJLaMbYKcGmdsxdkzOMT2j4i4RHvv2T6qQ0sAjY1g1NaByCqkiDrXF7EOHEaiq1GV40a7Z2r9WiHnc51xg/bZrcQVnVU7zqJGY3i5c/UjxnWXeyMamjOdxOryUcVX6td6mQ4riPj/pO9Pq7Kd/ELb4cySKiR2eCWNbpsbaTq0rUKc4Uo8yAOOt5z/DYtXTcdX3pSXheWZ5tzqqbXL4LMmDIjqdIO64Psr+ScONp5C8OLjm5ouLWvrW4RWuODjxkpxgk0QMsq6UXFy8BERdhzBRjGD7vp2d7nHyA91J1EsQOzqxjfljHmSUBvsksswcFnrGoW2aFkoAiIgCpkdYE911UrNYfgdwKA9phZjf4i/G2lXVZjqmHQHtPdcXV5AEREBS5gOsA8dKwqnINPJ24IXcWNvzss9EPU2uDX5Lw/BSl5giZEX2z80WvbUtgiIG2/LCIiHhosaYcFfSSRaBIPjicdkg1eB1eK+faukfC90cjXRyNNnMcLEH7L6fWtythynqv9eGOQ7HEWcP6hpWcZ6OvHyfS8Pg+bFOei/Cb6ipZUvaRTxHODiLZ8g7IbvA13XRqbo3oI3Zwp2uN7gOLnjkTZSSOINAa0BrRoDQLADcAFlKz4G63MUo6iipeOdYEnUBcr1Y+UKd0kT2NIaXC2drtvWibai2ltnBFJtJnPcoVXWyvfvcbcNnksdb6XB0w1Ojd4kLElw5UN/bJ4EFUW3EyduUoP+C0wyKdJRkjCpKcySMYNbnAffyXSoow1oaNQAA4BRTCuSXNmc+Rjm5rfhuLfEd3gparD0bHddbnJeW/siI6lcpzUVwv7CIimyLCIiAKHTnPrpTucG8mgKYqF5IOfPK7fI4/5FAS+nFmhXVTGNAVSAIiIArVQ27SrqICCZayO5ziRdattJUR9mSVvBzvuulPpwditOye07EBAY8tVjP3XH+QDvULJjxrVN7TIn/0lp8ipc/IzTsCxZMPNOwIDTRdIJHbg/td9ws2HH8B7TZWeAcPIr2XC7TsWHLhMbkBuYcXUrv3Q3ucHN9Qs+HKkT+zLE7g5v3UKlwodyw5cMOGxAdKDr6tK9XLxkyaPsukbwcQrzMo1keqaQ8fi9UB0pFz6PF9WzX1b+LbelllRdIEg7cDT/FxHkQgJuiisPSDEe3HK3hZ3uFnQ40pXfuFv8muHsgN4iwYMtwP7M0R/qAPIrMZIDqIPA3QFSIiAIiIAiIgCIiAtVUubG925jjyBKimFo9q3+IZc2lmP0W5m3utXhiKzQgJIF6iIAiIgCIiAIiIAiIgC8svUQFJjG5UGnB2K6iAxnUDTsVl+SWnYFnogNPJkBp2BYkuGWnYpGiAiEuFBuWFLhPuU8sqSwIDnMuFnDYsc5EkZ2S9vAkei6YYBuVt1E07EBztlRVx9maXgSSORWRHiisZrc1/8mj1FlN35LadgWPJkJp2BARqLHsw7cMbuBc37rNi6QmfrhkbwId9lmy4aadiw5cKjcgMyHHFM7W57P5NPtdZ0OIqd+qeLxOb6qMy4TWFLhU7kB0GOoa7sua7gQfRXFzB2Hnt1XHDQvWNqY+zLMP6j7oCZYwktT2+aRg87+yqw/HZg4KJNqKibNbK8vaHXFwL31awFN8kxZrBwQGwREQBERAEREAREQBERAEREAREQBERAEREAREQBERAEREAREQHhaFSYRuVaICw6kaditPya07FmIgMBuSmg6gsyNlgq0QBERAEREB//9k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653" y="1892502"/>
            <a:ext cx="8394779" cy="4851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8839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395536" y="2132856"/>
            <a:ext cx="6157664" cy="4392488"/>
          </a:xfrm>
        </p:spPr>
        <p:txBody>
          <a:bodyPr/>
          <a:lstStyle/>
          <a:p>
            <a:r>
              <a:rPr lang="en-US" sz="2400" dirty="0" smtClean="0"/>
              <a:t>New Hardware : </a:t>
            </a:r>
            <a:r>
              <a:rPr lang="en-US" sz="2400" b="1" dirty="0" smtClean="0">
                <a:solidFill>
                  <a:srgbClr val="FF0000"/>
                </a:solidFill>
              </a:rPr>
              <a:t>Redeploy ASAP</a:t>
            </a:r>
          </a:p>
          <a:p>
            <a:pPr marL="0" indent="0">
              <a:buNone/>
            </a:pPr>
            <a:r>
              <a:rPr lang="en-US" sz="2400" b="1" dirty="0" smtClean="0">
                <a:solidFill>
                  <a:srgbClr val="FF0000"/>
                </a:solidFill>
              </a:rPr>
              <a:t>    … Deadline is unchanged</a:t>
            </a:r>
          </a:p>
          <a:p>
            <a:r>
              <a:rPr lang="en-US" sz="2400" dirty="0" smtClean="0"/>
              <a:t>CSV format is mandatory</a:t>
            </a:r>
          </a:p>
          <a:p>
            <a:r>
              <a:rPr lang="en-US" sz="2400" dirty="0"/>
              <a:t>3 packs of “Pommes” cost 2€</a:t>
            </a:r>
          </a:p>
          <a:p>
            <a:r>
              <a:rPr lang="en-US" sz="2400" dirty="0"/>
              <a:t>2 packs of “</a:t>
            </a:r>
            <a:r>
              <a:rPr lang="en-US" sz="2400" dirty="0" err="1"/>
              <a:t>Mele</a:t>
            </a:r>
            <a:r>
              <a:rPr lang="en-US" sz="2400" dirty="0"/>
              <a:t>” cost </a:t>
            </a:r>
            <a:r>
              <a:rPr lang="en-US" sz="2400" dirty="0" smtClean="0"/>
              <a:t>1€</a:t>
            </a:r>
            <a:endParaRPr lang="en-US" sz="2400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FC98-F726-4387-BD61-63831D042500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460375" y="1161913"/>
            <a:ext cx="8229600" cy="782960"/>
          </a:xfrm>
        </p:spPr>
        <p:txBody>
          <a:bodyPr/>
          <a:lstStyle/>
          <a:p>
            <a:r>
              <a:rPr lang="fr-FR" sz="3600" dirty="0" err="1" smtClean="0"/>
              <a:t>Iteration</a:t>
            </a:r>
            <a:r>
              <a:rPr lang="fr-FR" sz="3600" dirty="0" smtClean="0"/>
              <a:t> 5’</a:t>
            </a:r>
            <a:r>
              <a:rPr lang="fr-FR" sz="1800" dirty="0"/>
              <a:t/>
            </a:r>
            <a:br>
              <a:rPr lang="fr-FR" sz="1800" dirty="0"/>
            </a:br>
            <a:endParaRPr lang="fr-FR" sz="1800" dirty="0"/>
          </a:p>
        </p:txBody>
      </p:sp>
      <p:sp>
        <p:nvSpPr>
          <p:cNvPr id="5" name="AutoShape 2" descr="data:image/jpeg;base64,/9j/4AAQSkZJRgABAQAAAQABAAD/2wCEAAkGBhQQEBASEhIPEBAWEBIQEA8UFRQPEBIQFBAVFBQQEhIXGyYeFxkjGRIUHy8gIycpLCwsFR4xNTAqNSYrLCkBCQoKDgwOGg8PGiklHyQtKTQpLDA1KiksLC0sLCw1NSwqLCwvLDQsLC0pLCotLCwsKSwsLCwsLCwsLCksLCwpKf/AABEIAMsA+AMBIgACEQEDEQH/xAAcAAEAAQUBAQAAAAAAAAAAAAAABgIDBAUHAQj/xAA+EAABAwIBCAgEBQMDBQAAAAABAAIDBBEGBRIhMUFRcZEHEzJhgaGxwSJSYtEUI0JDcoKSojPh4hVTwvDx/8QAGgEBAAIDAQAAAAAAAAAAAAAAAAUGAgMEAf/EACwRAAICAgEDAgUEAwEAAAAAAAABAgMEETEFEiETQVFhcaHxQoGRwTKx0SL/2gAMAwEAAhEDEQA/AO4oiIAiIgCK26oaDYkA/wDu1etlB1EHgQUBWiIgCIiAIiIAiIgCIiAIiIAiIgCIiAIiIAiIgCIiAIiIAiIgCIiAIi8KAt05vnHe8+QA9lW6IHWAeIBVukHwDvu7+4k+6vIC1+GbutwJb6J1O5zx439QVdRAWsx3zA8R9il3bmnxI8rK6iAtdadrHeFj7p+IG3OHFp9bK6qTIN45oCkTtP6m81cXhAO4+at/hm7gOHw+iAuorXUbi4eJPqnVu2O5gH0sgLqK18f0Hm37p1jtrT4EH1sgLqK11+8OHgT6L0VDfmHjo9UBcReB19WleoAiIgCIiAIiIAiIgCIiAIiIArdQ6zXHuPoris1XZtvIHNwCAuRtsANwA8lUiIAiKN40xnHk6K+h87geqivr+p25oXqWzKMXJ6RtMtZfho4+snkbG3YNbnHc1uslcyy70ySvJbSxtib/AN2T4nnvDdQ81BMr5Zlq5TLO8vedXytHytGwLCW5QS5JWrEjHzLyzbV2LKuc/mVM57g4sbybZa41b/nk/ud91aRZnWopcIzaXLc8RvHPOw9z3W5XspNknpXrIbB5ZUM2h4s+3c8KGIjSZjKuEuUd3w10l01YQwkwTH9t/ZJ3MfqKly+Wl0bAHSU6JzKarcXRGzY5jpdGdgedre/YtUofAj7sTS7ofwdfReNdcXGkawVRUzBjHOOoNJ5BaW0ltnAlt6Li8IXPP+uTZxIkeLkm17gX2WWVFiqdv6mu4tHsoSPW6Hymv4JN9Mt9mibGnaf0t5aea8/DjYXD+oqPZIxPJNKyMsZp1uFxYDbZSZSmPk15Ee6vg4bqZ0vtmWuqOx58QD7JZ+9p8CPcqzXZUjhzesdm31aCdSpiy1C7VKznb1WburUu1yW/hsxVU2u5J6MjPd8oPA/eyddva8eF/RVMna7U5p4EFVrYmnwYa0WvxLd9uN2+qra8HUQeGlVKh0LTra0+AXp4VorLoAATpFgTocQOV7Kikqg5o03NhfjZAZKIiAIiIArM+tg+q/JpKvKy7TI3ua4+YH3QF5ERAYmVcpMpoZJpDZjGlx3m2oDvK+dcu5akrJ3zyH4nHQ3Yxn6WDuC6P0z5aIZBStPaPWyD6WmzRzvyXKFvrXjZLYdWo979wiIth3BFvcL4Onyg8iIBsYNnzO7De4bz3LoNP0KwBvx1E7nbS0NYL9w0rFySNFl8IPTZyFF0HEfRFLAx0lM8ztAuYyLS2Hy20O4Ln5H/AMXqafBnCyM1uLPERF6bDsvRLigzwuppHXkhALCdJdCTYcjo5KR4vrMyAMGt7reA0lcYwDlM0+UaZ17Nc/qn/wAXi3rZdpxdT51PnbWuB8DoKi+pKSx59vw/P2I704wyot8N/f8AJCERFQCwkowXR/6kp/g31KlSwci0fVQRt22ueJ0q/XVIije8/paT47FesOpY+Ok/ZbZVcmbuubXx0iF4orOsqHAamDMHHWfNaheveSSTrJJPErxUq6122Sm/dlmqgq4KK9j1riNRIPdoXRsk05jhjaSS7NBcTpNzpKhGQaPraiNuwHOdwbp9V0JWDolL1K1/RER1SzzGC+oREVjIYxMqzZkErt0bvRaXDUhc0XWfimXNpZO/NbzcPssbDcVmBAb9ERAEREAVlnbd3NaPMlXlZg1vP1W5AD2KAvIiIDgnSdW9ZlOfcwMiA4NufMqKrZYkqetrKp++eTkHWHotaupcFgrWoJfILJydQOnmihZ2nvawd1za/hrWMpj0UUuflJhtcMikf42DQfNG9IWS7YuR2bImR2UkEcEYs1rbd7nbXHvJWciLlIBvb2wuHdK2RW09dnsFmzM6wgag8GzuetdxXHOmetDquCMEExwuLu4vdoB8B5rOvk6sNv1PBz1ERdBMmTk51poSNYmjI454X0Xl4XpZf4L58w7SmWrpmDSTMzkDc+QX0BiWTNpZNlwGjxIXDnNKmW/g/wDRw3+bq0vj/ZAVn5Co+tqI27Ac93ALAWyyLlcUznOzM8kAXvawVBxuz1Y+o/G/JM3d3pvs5OgKOYyrLRsjGtxueDf917FjSM9pj28io/lzKInmLxfNsGtvuCsnUOoVSx3GqW2/H7ELiYlkbk5rSRr0RehtyANZNhxKqhPEswZR2a+U7TmDgNfqpKsbJtJ1UUbNzRfjtWSr9h0+jTGHy8/UqeTb6trkERF1Ggj2MpPyom/NKPIFZmQo7MHBavFr7y07Nwc7mQPZbzJbLMHBAZqIiAIiIAVZpezfeSebiq5XWaTuBPkkLbNaNzQPJAVqxXTZkUj/AJWOdyaSr60eNqrqsn1btX5LgOLtA9V6jKK20j54e/OJdvJdzN/dUoEXUWELpHQpS3nqpPljYwcXOJPoFzddf6FaW1NUSfNMG+DWD7rCfBz5T1UzoyLWYixBHQwOmlOgaGtHae86mtXFMRdIVVWFw6wwwnVDGc3R9TtblpjFsjKceVvlcHUcWdIsFE1zWObNUW+GJpuGnfI4auGtcPyhXvnlfLI7Oke4uce87B3BY6LfGKRK00RqXjkIirihc9zWtBc5xDWtGkknQAFkbia9EeRjNW9cR8ELC6+zrHfCByuV0jGlXZkce0nOPBur1VeC8ODJ1G1jrdYfzJ3fWRpF9wAso5lev6+Zz/06mj6RqVf6zkqFPYuZeP29zlx16+R3+0TCRZWTsnPncWstcC5voFlly4Ynb+jO4EFVOGPbOPdGLaJaV1cX2ykkzVIrtRSujNntLTa9ju3q0tLTT0zYmmtoL0FeIvD0zIsrzN1Sv53UiwxlOaZ7s92cxrdwuSdQuoip1haj6unaTrec88NgUz0p22Xpdz0vL8sjM9Vwqb0ts3CIit5XiI5bdnVoHysaOdz7qT0bbNCil8+tmO5+b/aAPZS6AfCEBcREQBERAWavskb7DmQPdXlZn1sH1jyufZXkAUM6WqnMya8fPJGzwzrn0UzXNemuqtBSx/NK5/g1v/JZR5N+Ot2ROSIiLpJ09XdeiqlzMmQn53SSc3aPRcJK+jcH0vVUFIzdAy/Ei59Vqs4OHNf/AIS+ZzTplykXVUMFzmMiD7b3vJ08hZc9U96Y6Mtro5LaHwAA97HEEeY5qBLOPBvx9elHQREWRvK4oi9wa0FzibNaBdxJ2ALsfR50efhLVFQAagj4GaxCD/5ei2mBcMUkEEU8DesdIwO699nP0jSBsbp3JiDEjruiju2xzXvOh3eG7uKj8zNhjw7pfk4HOeRL06/C92eYoy7nXhjOj9xw2/SFGURUTJyJ5FjnL8EzTTGmHbEmGDaPNjdIdbjYfxH+6kSiOT8WNiYxhiNmgC4PmsqpxfG6N4aHh5aQ240XPerPiZmLTQoKS8L7kHkY19lrk48s0GXKzrZ5HbAc1vALARFU7Juybm+WT8IqEVFexUxhcQBrJAHEqajCUJaLhwdYXIOs20laDC1H1lQCdTBn+OxTpWHpGHCdcp2RT3xv5ER1DIlCajB61yRyTBTNkjx3GxUhjYGgAagABwCqRTlONVS26462Rdl9lulN70EJRY+UJc2KR25jj/iV0GkieQvjle/e9x5uKmTBoCieFYtAKlwQBERAEREBZfpezuDj6D3V5WW6ZD3NA5kn2CvIAuP9NNVeppo/lhc48XO+wXYFwjpUqs/Kco+RkbP8bn1WdfJ2Ya3YRFERdBMFcMWc5jfmc1vNwHuvp2lizGMbua1vIAL50wpS9bXUjN87CeAOcfRfSC02EZnPzFES6S8N/jKNxYLzQ3lj3kAfGzxHouDr6lXBOkXDf4Ksdmi0Mt5YtwJPxM8D6pW/Y9wrf0P9iKoiLcSR1DoexLYvonnQbyQX3/rYPXmpTjDJliJmjQbNfx2O9lw6grXQSxyxmz2OD2nvB1cNi+iMl5QjyhRskGlkjPiHyu1ObxBUbn4qyKnD+PqcM28e5Wrh8kCRXqulMT3MdrabcdxWZTYfmkYJGNBadXxAHkVQ402Sk4xi21yialZCKUm1pmtRZsuRZ264n8QM4eSwljOuUPEk19fB7GcZf4vYREWBmXIahzNLXObwNlmR4gnb+448bFa9ZWTKTrZo2bC4X/iNa31TtUlGuTW/marIw03NInuSnvdCx0ml5Fzotr1eSy141tgB4L1X6Ee2KTe9FSk9tsLV4llzaWXvAb/c4BbRaHGMloGN+aVvkCVmYlvDMVmhSJajIMdmDgtugCIiAIiFAWYNbz9QHJo+5V5WaXs33ucf8iryAL5xxdVdbX1b987wODfh9l9GP1G2uxtxXz/lLBNcHyPdTSnOe5xLbP1uJ2LZWd+E0m22RxFlT5Lmj7cMrOLHD2WKdGvR5LeSieyWdF1Ln5Th+hsknJth6rvK470L02dV1Enywhvi5/8AxXYlos5IjMe7NfIKNdIGG/xtG9rR+cz82E7c4DS3xGjkpKiwT0csZOLTR8t28N479y8Uy6UMNfhasyMFoZrvG5sn62+/ioaulPa2T8JqcVJBdF6H8RmOZ9I8/BJd8W4SAaR4j0XOls8MzmOtpXDWKiPxu4C3mvJLaMbYKcGmdsxdkzOMT2j4i4RHvv2T6qQ0sAjY1g1NaByCqkiDrXF7EOHEaiq1GV40a7Z2r9WiHnc51xg/bZrcQVnVU7zqJGY3i5c/UjxnWXeyMamjOdxOryUcVX6td6mQ4riPj/pO9Pq7Kd/ELb4cySKiR2eCWNbpsbaTq0rUKc4Uo8yAOOt5z/DYtXTcdX3pSXheWZ5tzqqbXL4LMmDIjqdIO64Psr+ScONp5C8OLjm5ouLWvrW4RWuODjxkpxgk0QMsq6UXFy8BERdhzBRjGD7vp2d7nHyA91J1EsQOzqxjfljHmSUBvsksswcFnrGoW2aFkoAiIgCpkdYE911UrNYfgdwKA9phZjf4i/G2lXVZjqmHQHtPdcXV5AEREBS5gOsA8dKwqnINPJ24IXcWNvzss9EPU2uDX5Lw/BSl5giZEX2z80WvbUtgiIG2/LCIiHhosaYcFfSSRaBIPjicdkg1eB1eK+faukfC90cjXRyNNnMcLEH7L6fWtythynqv9eGOQ7HEWcP6hpWcZ6OvHyfS8Pg+bFOei/Cb6ipZUvaRTxHODiLZ8g7IbvA13XRqbo3oI3Zwp2uN7gOLnjkTZSSOINAa0BrRoDQLADcAFlKz4G63MUo6iipeOdYEnUBcr1Y+UKd0kT2NIaXC2drtvWibai2ltnBFJtJnPcoVXWyvfvcbcNnksdb6XB0w1Ojd4kLElw5UN/bJ4EFUW3EyduUoP+C0wyKdJRkjCpKcySMYNbnAffyXSoow1oaNQAA4BRTCuSXNmc+Rjm5rfhuLfEd3gparD0bHddbnJeW/siI6lcpzUVwv7CIimyLCIiAKHTnPrpTucG8mgKYqF5IOfPK7fI4/5FAS+nFmhXVTGNAVSAIiIArVQ27SrqICCZayO5ziRdattJUR9mSVvBzvuulPpwditOye07EBAY8tVjP3XH+QDvULJjxrVN7TIn/0lp8ipc/IzTsCxZMPNOwIDTRdIJHbg/td9ws2HH8B7TZWeAcPIr2XC7TsWHLhMbkBuYcXUrv3Q3ucHN9Qs+HKkT+zLE7g5v3UKlwodyw5cMOGxAdKDr6tK9XLxkyaPsukbwcQrzMo1keqaQ8fi9UB0pFz6PF9WzX1b+LbelllRdIEg7cDT/FxHkQgJuiisPSDEe3HK3hZ3uFnQ40pXfuFv8muHsgN4iwYMtwP7M0R/qAPIrMZIDqIPA3QFSIiAIiIAiIgCIiAtVUubG925jjyBKimFo9q3+IZc2lmP0W5m3utXhiKzQgJIF6iIAiIgCIiAIiIAiIgC8svUQFJjG5UGnB2K6iAxnUDTsVl+SWnYFnogNPJkBp2BYkuGWnYpGiAiEuFBuWFLhPuU8sqSwIDnMuFnDYsc5EkZ2S9vAkei6YYBuVt1E07EBztlRVx9maXgSSORWRHiisZrc1/8mj1FlN35LadgWPJkJp2BARqLHsw7cMbuBc37rNi6QmfrhkbwId9lmy4aadiw5cKjcgMyHHFM7W57P5NPtdZ0OIqd+qeLxOb6qMy4TWFLhU7kB0GOoa7sua7gQfRXFzB2Hnt1XHDQvWNqY+zLMP6j7oCZYwktT2+aRg87+yqw/HZg4KJNqKibNbK8vaHXFwL31awFN8kxZrBwQGwREQBERAEREAREQBERAEREAREQBERAEREAREQBERAEREAREQHhaFSYRuVaICw6kaditPya07FmIgMBuSmg6gsyNlgq0QBERAEREB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6" name="AutoShape 4" descr="data:image/jpeg;base64,/9j/4AAQSkZJRgABAQAAAQABAAD/2wCEAAkGBhQQEBASEhIPEBAWEBIQEA8UFRQPEBIQFBAVFBQQEhIXGyYeFxkjGRIUHy8gIycpLCwsFR4xNTAqNSYrLCkBCQoKDgwOGg8PGiklHyQtKTQpLDA1KiksLC0sLCw1NSwqLCwvLDQsLC0pLCotLCwsKSwsLCwsLCwsLCksLCwpKf/AABEIAMsA+AMBIgACEQEDEQH/xAAcAAEAAQUBAQAAAAAAAAAAAAAABgIDBAUHAQj/xAA+EAABAwIBCAgEBQMDBQAAAAABAAIDBBEGBRIhMUFRcZEHEzJhgaGxwSJSYtEUI0JDcoKSojPh4hVTwvDx/8QAGgEBAAIDAQAAAAAAAAAAAAAAAAUGAgMEAf/EACwRAAICAgEDAgUEAwEAAAAAAAABAgMEETEFEiETQVFhcaHxQoGRwTKx0SL/2gAMAwEAAhEDEQA/AO4oiIAiIgCK26oaDYkA/wDu1etlB1EHgQUBWiIgCIiAIiIAiIgCIiAIiIAiIgCIiAIiIAiIgCIiAIiIAiIgCIiAIi8KAt05vnHe8+QA9lW6IHWAeIBVukHwDvu7+4k+6vIC1+GbutwJb6J1O5zx439QVdRAWsx3zA8R9il3bmnxI8rK6iAtdadrHeFj7p+IG3OHFp9bK6qTIN45oCkTtP6m81cXhAO4+at/hm7gOHw+iAuorXUbi4eJPqnVu2O5gH0sgLqK18f0Hm37p1jtrT4EH1sgLqK11+8OHgT6L0VDfmHjo9UBcReB19WleoAiIgCIiAIiIAiIgCIiAIiIArdQ6zXHuPoris1XZtvIHNwCAuRtsANwA8lUiIAiKN40xnHk6K+h87geqivr+p25oXqWzKMXJ6RtMtZfho4+snkbG3YNbnHc1uslcyy70ySvJbSxtib/AN2T4nnvDdQ81BMr5Zlq5TLO8vedXytHytGwLCW5QS5JWrEjHzLyzbV2LKuc/mVM57g4sbybZa41b/nk/ud91aRZnWopcIzaXLc8RvHPOw9z3W5XspNknpXrIbB5ZUM2h4s+3c8KGIjSZjKuEuUd3w10l01YQwkwTH9t/ZJ3MfqKly+Wl0bAHSU6JzKarcXRGzY5jpdGdgedre/YtUofAj7sTS7ofwdfReNdcXGkawVRUzBjHOOoNJ5BaW0ltnAlt6Li8IXPP+uTZxIkeLkm17gX2WWVFiqdv6mu4tHsoSPW6Hymv4JN9Mt9mibGnaf0t5aea8/DjYXD+oqPZIxPJNKyMsZp1uFxYDbZSZSmPk15Ee6vg4bqZ0vtmWuqOx58QD7JZ+9p8CPcqzXZUjhzesdm31aCdSpiy1C7VKznb1WburUu1yW/hsxVU2u5J6MjPd8oPA/eyddva8eF/RVMna7U5p4EFVrYmnwYa0WvxLd9uN2+qra8HUQeGlVKh0LTra0+AXp4VorLoAATpFgTocQOV7Kikqg5o03NhfjZAZKIiAIiIArM+tg+q/JpKvKy7TI3ua4+YH3QF5ERAYmVcpMpoZJpDZjGlx3m2oDvK+dcu5akrJ3zyH4nHQ3Yxn6WDuC6P0z5aIZBStPaPWyD6WmzRzvyXKFvrXjZLYdWo979wiIth3BFvcL4Onyg8iIBsYNnzO7De4bz3LoNP0KwBvx1E7nbS0NYL9w0rFySNFl8IPTZyFF0HEfRFLAx0lM8ztAuYyLS2Hy20O4Ln5H/AMXqafBnCyM1uLPERF6bDsvRLigzwuppHXkhALCdJdCTYcjo5KR4vrMyAMGt7reA0lcYwDlM0+UaZ17Nc/qn/wAXi3rZdpxdT51PnbWuB8DoKi+pKSx59vw/P2I704wyot8N/f8AJCERFQCwkowXR/6kp/g31KlSwci0fVQRt22ueJ0q/XVIije8/paT47FesOpY+Ok/ZbZVcmbuubXx0iF4orOsqHAamDMHHWfNaheveSSTrJJPErxUq6122Sm/dlmqgq4KK9j1riNRIPdoXRsk05jhjaSS7NBcTpNzpKhGQaPraiNuwHOdwbp9V0JWDolL1K1/RER1SzzGC+oREVjIYxMqzZkErt0bvRaXDUhc0XWfimXNpZO/NbzcPssbDcVmBAb9ERAEREAVlnbd3NaPMlXlZg1vP1W5AD2KAvIiIDgnSdW9ZlOfcwMiA4NufMqKrZYkqetrKp++eTkHWHotaupcFgrWoJfILJydQOnmihZ2nvawd1za/hrWMpj0UUuflJhtcMikf42DQfNG9IWS7YuR2bImR2UkEcEYs1rbd7nbXHvJWciLlIBvb2wuHdK2RW09dnsFmzM6wgag8GzuetdxXHOmetDquCMEExwuLu4vdoB8B5rOvk6sNv1PBz1ERdBMmTk51poSNYmjI454X0Xl4XpZf4L58w7SmWrpmDSTMzkDc+QX0BiWTNpZNlwGjxIXDnNKmW/g/wDRw3+bq0vj/ZAVn5Co+tqI27Ac93ALAWyyLlcUznOzM8kAXvawVBxuz1Y+o/G/JM3d3pvs5OgKOYyrLRsjGtxueDf917FjSM9pj28io/lzKInmLxfNsGtvuCsnUOoVSx3GqW2/H7ELiYlkbk5rSRr0RehtyANZNhxKqhPEswZR2a+U7TmDgNfqpKsbJtJ1UUbNzRfjtWSr9h0+jTGHy8/UqeTb6trkERF1Ggj2MpPyom/NKPIFZmQo7MHBavFr7y07Nwc7mQPZbzJbLMHBAZqIiAIiIAVZpezfeSebiq5XWaTuBPkkLbNaNzQPJAVqxXTZkUj/AJWOdyaSr60eNqrqsn1btX5LgOLtA9V6jKK20j54e/OJdvJdzN/dUoEXUWELpHQpS3nqpPljYwcXOJPoFzddf6FaW1NUSfNMG+DWD7rCfBz5T1UzoyLWYixBHQwOmlOgaGtHae86mtXFMRdIVVWFw6wwwnVDGc3R9TtblpjFsjKceVvlcHUcWdIsFE1zWObNUW+GJpuGnfI4auGtcPyhXvnlfLI7Oke4uce87B3BY6LfGKRK00RqXjkIirihc9zWtBc5xDWtGkknQAFkbia9EeRjNW9cR8ELC6+zrHfCByuV0jGlXZkce0nOPBur1VeC8ODJ1G1jrdYfzJ3fWRpF9wAso5lev6+Zz/06mj6RqVf6zkqFPYuZeP29zlx16+R3+0TCRZWTsnPncWstcC5voFlly4Ynb+jO4EFVOGPbOPdGLaJaV1cX2ykkzVIrtRSujNntLTa9ju3q0tLTT0zYmmtoL0FeIvD0zIsrzN1Sv53UiwxlOaZ7s92cxrdwuSdQuoip1haj6unaTrec88NgUz0p22Xpdz0vL8sjM9Vwqb0ts3CIit5XiI5bdnVoHysaOdz7qT0bbNCil8+tmO5+b/aAPZS6AfCEBcREQBERAWavskb7DmQPdXlZn1sH1jyufZXkAUM6WqnMya8fPJGzwzrn0UzXNemuqtBSx/NK5/g1v/JZR5N+Ot2ROSIiLpJ09XdeiqlzMmQn53SSc3aPRcJK+jcH0vVUFIzdAy/Ei59Vqs4OHNf/AIS+ZzTplykXVUMFzmMiD7b3vJ08hZc9U96Y6Mtro5LaHwAA97HEEeY5qBLOPBvx9elHQREWRvK4oi9wa0FzibNaBdxJ2ALsfR50efhLVFQAagj4GaxCD/5ei2mBcMUkEEU8DesdIwO699nP0jSBsbp3JiDEjruiju2xzXvOh3eG7uKj8zNhjw7pfk4HOeRL06/C92eYoy7nXhjOj9xw2/SFGURUTJyJ5FjnL8EzTTGmHbEmGDaPNjdIdbjYfxH+6kSiOT8WNiYxhiNmgC4PmsqpxfG6N4aHh5aQ240XPerPiZmLTQoKS8L7kHkY19lrk48s0GXKzrZ5HbAc1vALARFU7Juybm+WT8IqEVFexUxhcQBrJAHEqajCUJaLhwdYXIOs20laDC1H1lQCdTBn+OxTpWHpGHCdcp2RT3xv5ER1DIlCajB61yRyTBTNkjx3GxUhjYGgAagABwCqRTlONVS26462Rdl9lulN70EJRY+UJc2KR25jj/iV0GkieQvjle/e9x5uKmTBoCieFYtAKlwQBERAEREBZfpezuDj6D3V5WW6ZD3NA5kn2CvIAuP9NNVeppo/lhc48XO+wXYFwjpUqs/Kco+RkbP8bn1WdfJ2Ya3YRFERdBMFcMWc5jfmc1vNwHuvp2lizGMbua1vIAL50wpS9bXUjN87CeAOcfRfSC02EZnPzFES6S8N/jKNxYLzQ3lj3kAfGzxHouDr6lXBOkXDf4Ksdmi0Mt5YtwJPxM8D6pW/Y9wrf0P9iKoiLcSR1DoexLYvonnQbyQX3/rYPXmpTjDJliJmjQbNfx2O9lw6grXQSxyxmz2OD2nvB1cNi+iMl5QjyhRskGlkjPiHyu1ObxBUbn4qyKnD+PqcM28e5Wrh8kCRXqulMT3MdrabcdxWZTYfmkYJGNBadXxAHkVQ402Sk4xi21yialZCKUm1pmtRZsuRZ264n8QM4eSwljOuUPEk19fB7GcZf4vYREWBmXIahzNLXObwNlmR4gnb+448bFa9ZWTKTrZo2bC4X/iNa31TtUlGuTW/marIw03NInuSnvdCx0ml5Fzotr1eSy141tgB4L1X6Ee2KTe9FSk9tsLV4llzaWXvAb/c4BbRaHGMloGN+aVvkCVmYlvDMVmhSJajIMdmDgtugCIiAIiFAWYNbz9QHJo+5V5WaXs33ucf8iryAL5xxdVdbX1b987wODfh9l9GP1G2uxtxXz/lLBNcHyPdTSnOe5xLbP1uJ2LZWd+E0m22RxFlT5Lmj7cMrOLHD2WKdGvR5LeSieyWdF1Ln5Th+hsknJth6rvK470L02dV1Enywhvi5/8AxXYlos5IjMe7NfIKNdIGG/xtG9rR+cz82E7c4DS3xGjkpKiwT0csZOLTR8t28N479y8Uy6UMNfhasyMFoZrvG5sn62+/ioaulPa2T8JqcVJBdF6H8RmOZ9I8/BJd8W4SAaR4j0XOls8MzmOtpXDWKiPxu4C3mvJLaMbYKcGmdsxdkzOMT2j4i4RHvv2T6qQ0sAjY1g1NaByCqkiDrXF7EOHEaiq1GV40a7Z2r9WiHnc51xg/bZrcQVnVU7zqJGY3i5c/UjxnWXeyMamjOdxOryUcVX6td6mQ4riPj/pO9Pq7Kd/ELb4cySKiR2eCWNbpsbaTq0rUKc4Uo8yAOOt5z/DYtXTcdX3pSXheWZ5tzqqbXL4LMmDIjqdIO64Psr+ScONp5C8OLjm5ouLWvrW4RWuODjxkpxgk0QMsq6UXFy8BERdhzBRjGD7vp2d7nHyA91J1EsQOzqxjfljHmSUBvsksswcFnrGoW2aFkoAiIgCpkdYE911UrNYfgdwKA9phZjf4i/G2lXVZjqmHQHtPdcXV5AEREBS5gOsA8dKwqnINPJ24IXcWNvzss9EPU2uDX5Lw/BSl5giZEX2z80WvbUtgiIG2/LCIiHhosaYcFfSSRaBIPjicdkg1eB1eK+faukfC90cjXRyNNnMcLEH7L6fWtythynqv9eGOQ7HEWcP6hpWcZ6OvHyfS8Pg+bFOei/Cb6ipZUvaRTxHODiLZ8g7IbvA13XRqbo3oI3Zwp2uN7gOLnjkTZSSOINAa0BrRoDQLADcAFlKz4G63MUo6iipeOdYEnUBcr1Y+UKd0kT2NIaXC2drtvWibai2ltnBFJtJnPcoVXWyvfvcbcNnksdb6XB0w1Ojd4kLElw5UN/bJ4EFUW3EyduUoP+C0wyKdJRkjCpKcySMYNbnAffyXSoow1oaNQAA4BRTCuSXNmc+Rjm5rfhuLfEd3gparD0bHddbnJeW/siI6lcpzUVwv7CIimyLCIiAKHTnPrpTucG8mgKYqF5IOfPK7fI4/5FAS+nFmhXVTGNAVSAIiIArVQ27SrqICCZayO5ziRdattJUR9mSVvBzvuulPpwditOye07EBAY8tVjP3XH+QDvULJjxrVN7TIn/0lp8ipc/IzTsCxZMPNOwIDTRdIJHbg/td9ws2HH8B7TZWeAcPIr2XC7TsWHLhMbkBuYcXUrv3Q3ucHN9Qs+HKkT+zLE7g5v3UKlwodyw5cMOGxAdKDr6tK9XLxkyaPsukbwcQrzMo1keqaQ8fi9UB0pFz6PF9WzX1b+LbelllRdIEg7cDT/FxHkQgJuiisPSDEe3HK3hZ3uFnQ40pXfuFv8muHsgN4iwYMtwP7M0R/qAPIrMZIDqIPA3QFSIiAIiIAiIgCIiAtVUubG925jjyBKimFo9q3+IZc2lmP0W5m3utXhiKzQgJIF6iIAiIgCIiAIiIAiIgC8svUQFJjG5UGnB2K6iAxnUDTsVl+SWnYFnogNPJkBp2BYkuGWnYpGiAiEuFBuWFLhPuU8sqSwIDnMuFnDYsc5EkZ2S9vAkei6YYBuVt1E07EBztlRVx9maXgSSORWRHiisZrc1/8mj1FlN35LadgWPJkJp2BARqLHsw7cMbuBc37rNi6QmfrhkbwId9lmy4aadiw5cKjcgMyHHFM7W57P5NPtdZ0OIqd+qeLxOb6qMy4TWFLhU7kB0GOoa7sua7gQfRXFzB2Hnt1XHDQvWNqY+zLMP6j7oCZYwktT2+aRg87+yqw/HZg4KJNqKibNbK8vaHXFwL31awFN8kxZrBwQGwREQBERAEREAREQBERAEREAREQBERAEREAREQBERAEREAREQHhaFSYRuVaICw6kaditPya07FmIgMBuSmg6gsyNlgq0QBERAEREB//9k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3074" name="Picture 2" descr="http://simpleicon.com/wp-content/uploads/stopwatch-1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262787" y="1196752"/>
            <a:ext cx="765597" cy="765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ZoneTexte 6"/>
          <p:cNvSpPr txBox="1"/>
          <p:nvPr/>
        </p:nvSpPr>
        <p:spPr>
          <a:xfrm>
            <a:off x="8020490" y="1287162"/>
            <a:ext cx="74236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dirty="0" smtClean="0"/>
              <a:t>?</a:t>
            </a:r>
            <a:endParaRPr lang="fr-FR" sz="3200" dirty="0"/>
          </a:p>
        </p:txBody>
      </p:sp>
      <p:pic>
        <p:nvPicPr>
          <p:cNvPr id="6148" name="Picture 4" descr="http://www.icone-png.com/png/52/5235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6344" y="2132856"/>
            <a:ext cx="1827312" cy="1827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44081" y="4685839"/>
            <a:ext cx="2896215" cy="2172161"/>
          </a:xfrm>
          <a:prstGeom prst="rect">
            <a:avLst/>
          </a:prstGeom>
        </p:spPr>
      </p:pic>
      <p:sp>
        <p:nvSpPr>
          <p:cNvPr id="14" name="ZoneTexte 13"/>
          <p:cNvSpPr txBox="1"/>
          <p:nvPr/>
        </p:nvSpPr>
        <p:spPr>
          <a:xfrm>
            <a:off x="225485" y="4448480"/>
            <a:ext cx="4433214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5088" lvl="1">
              <a:buSzPct val="100000"/>
            </a:pPr>
            <a:r>
              <a:rPr lang="fr-FR" sz="2000" b="1" dirty="0" smtClean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ests</a:t>
            </a:r>
            <a:endParaRPr lang="fr-FR" sz="2000" b="1" dirty="0">
              <a:solidFill>
                <a:schemeClr val="accent5">
                  <a:lumMod val="75000"/>
                </a:schemeClr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65088" lvl="1">
              <a:buSzPct val="100000"/>
            </a:pPr>
            <a:r>
              <a:rPr lang="fr-FR" sz="2000" b="1" dirty="0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 err="1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Mele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, </a:t>
            </a:r>
            <a:r>
              <a:rPr lang="fr-FR" sz="2000" b="1" dirty="0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Pommes, Pommes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, </a:t>
            </a:r>
            <a:r>
              <a:rPr lang="fr-FR" sz="2000" b="1" dirty="0" err="1" smtClean="0"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Apples</a:t>
            </a:r>
            <a:r>
              <a:rPr lang="fr-FR" sz="2000" b="1" dirty="0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, Pommes, </a:t>
            </a:r>
            <a:r>
              <a:rPr lang="fr-FR" sz="2000" b="1" dirty="0" err="1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Mele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, </a:t>
            </a:r>
            <a:r>
              <a:rPr lang="fr-FR" sz="2000" b="1" dirty="0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Cherries</a:t>
            </a:r>
            <a:r>
              <a:rPr lang="fr-FR" sz="2000" b="1" dirty="0"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, </a:t>
            </a:r>
            <a:r>
              <a:rPr lang="fr-FR" sz="2000" b="1" dirty="0" smtClean="0"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Cherries</a:t>
            </a:r>
          </a:p>
          <a:p>
            <a:pPr marL="65088" lvl="1">
              <a:buSzPct val="100000"/>
            </a:pPr>
            <a:r>
              <a:rPr lang="fr-FR" sz="2000" b="1" dirty="0" smtClean="0"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, </a:t>
            </a:r>
            <a:r>
              <a:rPr lang="fr-FR" sz="2000" b="1" dirty="0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Bananas 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-&gt; 680 </a:t>
            </a:r>
          </a:p>
        </p:txBody>
      </p:sp>
      <p:sp>
        <p:nvSpPr>
          <p:cNvPr id="16" name="ZoneTexte 15"/>
          <p:cNvSpPr txBox="1"/>
          <p:nvPr/>
        </p:nvSpPr>
        <p:spPr>
          <a:xfrm>
            <a:off x="5436096" y="3872927"/>
            <a:ext cx="382167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5088" lvl="1">
              <a:buSzPct val="100000"/>
            </a:pPr>
            <a:r>
              <a:rPr lang="fr-FR" sz="2000" b="1" dirty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Tests </a:t>
            </a:r>
            <a:r>
              <a:rPr lang="fr-FR" sz="2000" b="1" dirty="0" smtClean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2</a:t>
            </a:r>
            <a:endParaRPr lang="fr-FR" sz="2000" b="1" dirty="0">
              <a:solidFill>
                <a:schemeClr val="accent5">
                  <a:lumMod val="75000"/>
                </a:schemeClr>
              </a:solidFill>
              <a:latin typeface="Consolas" panose="020B0609020204030204" pitchFamily="49" charset="0"/>
              <a:ea typeface="Anonymous Pro" panose="02060609030202000504" pitchFamily="49" charset="0"/>
              <a:cs typeface="Consolas" panose="020B0609020204030204" pitchFamily="49" charset="0"/>
            </a:endParaRPr>
          </a:p>
          <a:p>
            <a:pPr marL="65088" lvl="1">
              <a:buSzPct val="100000"/>
            </a:pP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Cherries, Pommes-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175 </a:t>
            </a:r>
          </a:p>
          <a:p>
            <a:pPr marL="65088" lvl="1">
              <a:buSzPct val="100000"/>
            </a:pP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Cherries 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-&gt; 230 </a:t>
            </a:r>
          </a:p>
          <a:p>
            <a:pPr marL="65088" lvl="1">
              <a:buSzPct val="100000"/>
            </a:pP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 smtClean="0"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Pommes</a:t>
            </a:r>
            <a:r>
              <a:rPr lang="fr-FR" sz="2000" b="1" dirty="0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, </a:t>
            </a:r>
            <a:r>
              <a:rPr lang="fr-FR" sz="2000" b="1" dirty="0" err="1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Apples</a:t>
            </a:r>
            <a:r>
              <a:rPr lang="fr-FR" sz="2000" b="1" dirty="0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, Bananas 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-&gt; 580 </a:t>
            </a:r>
          </a:p>
          <a:p>
            <a:pPr marL="65088" lvl="1">
              <a:buSzPct val="100000"/>
            </a:pP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 err="1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Apples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, Pommes -&gt; 680 </a:t>
            </a:r>
          </a:p>
          <a:p>
            <a:pPr marL="65088" lvl="1">
              <a:buSzPct val="100000"/>
            </a:pP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 err="1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Mele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 -&gt; 780 </a:t>
            </a:r>
          </a:p>
          <a:p>
            <a:pPr marL="65088" lvl="1">
              <a:buSzPct val="100000"/>
            </a:pP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 err="1" smtClean="0"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Apples</a:t>
            </a:r>
            <a:r>
              <a:rPr lang="fr-FR" sz="2000" b="1" dirty="0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 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-&gt; 880</a:t>
            </a:r>
          </a:p>
        </p:txBody>
      </p:sp>
    </p:spTree>
    <p:extLst>
      <p:ext uri="{BB962C8B-B14F-4D97-AF65-F5344CB8AC3E}">
        <p14:creationId xmlns:p14="http://schemas.microsoft.com/office/powerpoint/2010/main" val="1285854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395536" y="2132856"/>
            <a:ext cx="6157664" cy="4392488"/>
          </a:xfrm>
        </p:spPr>
        <p:txBody>
          <a:bodyPr/>
          <a:lstStyle/>
          <a:p>
            <a:r>
              <a:rPr lang="en-US" sz="2400" dirty="0" smtClean="0"/>
              <a:t>Goal : </a:t>
            </a:r>
            <a:r>
              <a:rPr lang="en-US" sz="2400" dirty="0" err="1" smtClean="0"/>
              <a:t>Bugfixing</a:t>
            </a:r>
            <a:r>
              <a:rPr lang="en-US" sz="2400" dirty="0" smtClean="0"/>
              <a:t> + Hot deal</a:t>
            </a:r>
          </a:p>
          <a:p>
            <a:r>
              <a:rPr lang="en-US" sz="2400" dirty="0" smtClean="0"/>
              <a:t>4 </a:t>
            </a:r>
            <a:r>
              <a:rPr lang="en-US" sz="2400" dirty="0" smtClean="0"/>
              <a:t>packs of all kind of “Apples</a:t>
            </a:r>
            <a:r>
              <a:rPr lang="en-US" sz="2400" dirty="0" smtClean="0"/>
              <a:t>” 1€ </a:t>
            </a:r>
            <a:r>
              <a:rPr lang="en-US" sz="2400" dirty="0" smtClean="0"/>
              <a:t>discount</a:t>
            </a:r>
          </a:p>
          <a:p>
            <a:pPr marL="457200" lvl="1" indent="0">
              <a:buNone/>
            </a:pPr>
            <a:r>
              <a:rPr lang="en-US" sz="2200" dirty="0" smtClean="0"/>
              <a:t>(</a:t>
            </a:r>
            <a:r>
              <a:rPr lang="en-US" sz="2200" dirty="0" err="1" smtClean="0"/>
              <a:t>Mele</a:t>
            </a:r>
            <a:r>
              <a:rPr lang="en-US" sz="2200" dirty="0" smtClean="0"/>
              <a:t>, Pommes &amp; Apples)</a:t>
            </a:r>
            <a:endParaRPr lang="en-US" sz="2200" dirty="0" smtClean="0"/>
          </a:p>
          <a:p>
            <a:r>
              <a:rPr lang="en-US" sz="2400" dirty="0" smtClean="0"/>
              <a:t>5 packs of fruits 2€ discount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FC98-F726-4387-BD61-63831D042500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460375" y="1161913"/>
            <a:ext cx="8229600" cy="782960"/>
          </a:xfrm>
        </p:spPr>
        <p:txBody>
          <a:bodyPr/>
          <a:lstStyle/>
          <a:p>
            <a:r>
              <a:rPr lang="fr-FR" sz="3600" dirty="0" err="1" smtClean="0"/>
              <a:t>Iteration</a:t>
            </a:r>
            <a:r>
              <a:rPr lang="fr-FR" sz="3600" dirty="0" smtClean="0"/>
              <a:t> 6 </a:t>
            </a:r>
            <a:r>
              <a:rPr lang="fr-FR" sz="1800" dirty="0"/>
              <a:t/>
            </a:r>
            <a:br>
              <a:rPr lang="fr-FR" sz="1800" dirty="0"/>
            </a:br>
            <a:endParaRPr lang="fr-FR" sz="1800" dirty="0"/>
          </a:p>
        </p:txBody>
      </p:sp>
      <p:sp>
        <p:nvSpPr>
          <p:cNvPr id="5" name="AutoShape 2" descr="data:image/jpeg;base64,/9j/4AAQSkZJRgABAQAAAQABAAD/2wCEAAkGBhQQEBASEhIPEBAWEBIQEA8UFRQPEBIQFBAVFBQQEhIXGyYeFxkjGRIUHy8gIycpLCwsFR4xNTAqNSYrLCkBCQoKDgwOGg8PGiklHyQtKTQpLDA1KiksLC0sLCw1NSwqLCwvLDQsLC0pLCotLCwsKSwsLCwsLCwsLCksLCwpKf/AABEIAMsA+AMBIgACEQEDEQH/xAAcAAEAAQUBAQAAAAAAAAAAAAAABgIDBAUHAQj/xAA+EAABAwIBCAgEBQMDBQAAAAABAAIDBBEGBRIhMUFRcZEHEzJhgaGxwSJSYtEUI0JDcoKSojPh4hVTwvDx/8QAGgEBAAIDAQAAAAAAAAAAAAAAAAUGAgMEAf/EACwRAAICAgEDAgUEAwEAAAAAAAABAgMEETEFEiETQVFhcaHxQoGRwTKx0SL/2gAMAwEAAhEDEQA/AO4oiIAiIgCK26oaDYkA/wDu1etlB1EHgQUBWiIgCIiAIiIAiIgCIiAIiIAiIgCIiAIiIAiIgCIiAIiIAiIgCIiAIi8KAt05vnHe8+QA9lW6IHWAeIBVukHwDvu7+4k+6vIC1+GbutwJb6J1O5zx439QVdRAWsx3zA8R9il3bmnxI8rK6iAtdadrHeFj7p+IG3OHFp9bK6qTIN45oCkTtP6m81cXhAO4+at/hm7gOHw+iAuorXUbi4eJPqnVu2O5gH0sgLqK18f0Hm37p1jtrT4EH1sgLqK11+8OHgT6L0VDfmHjo9UBcReB19WleoAiIgCIiAIiIAiIgCIiAIiIArdQ6zXHuPoris1XZtvIHNwCAuRtsANwA8lUiIAiKN40xnHk6K+h87geqivr+p25oXqWzKMXJ6RtMtZfho4+snkbG3YNbnHc1uslcyy70ySvJbSxtib/AN2T4nnvDdQ81BMr5Zlq5TLO8vedXytHytGwLCW5QS5JWrEjHzLyzbV2LKuc/mVM57g4sbybZa41b/nk/ud91aRZnWopcIzaXLc8RvHPOw9z3W5XspNknpXrIbB5ZUM2h4s+3c8KGIjSZjKuEuUd3w10l01YQwkwTH9t/ZJ3MfqKly+Wl0bAHSU6JzKarcXRGzY5jpdGdgedre/YtUofAj7sTS7ofwdfReNdcXGkawVRUzBjHOOoNJ5BaW0ltnAlt6Li8IXPP+uTZxIkeLkm17gX2WWVFiqdv6mu4tHsoSPW6Hymv4JN9Mt9mibGnaf0t5aea8/DjYXD+oqPZIxPJNKyMsZp1uFxYDbZSZSmPk15Ee6vg4bqZ0vtmWuqOx58QD7JZ+9p8CPcqzXZUjhzesdm31aCdSpiy1C7VKznb1WburUu1yW/hsxVU2u5J6MjPd8oPA/eyddva8eF/RVMna7U5p4EFVrYmnwYa0WvxLd9uN2+qra8HUQeGlVKh0LTra0+AXp4VorLoAATpFgTocQOV7Kikqg5o03NhfjZAZKIiAIiIArM+tg+q/JpKvKy7TI3ua4+YH3QF5ERAYmVcpMpoZJpDZjGlx3m2oDvK+dcu5akrJ3zyH4nHQ3Yxn6WDuC6P0z5aIZBStPaPWyD6WmzRzvyXKFvrXjZLYdWo979wiIth3BFvcL4Onyg8iIBsYNnzO7De4bz3LoNP0KwBvx1E7nbS0NYL9w0rFySNFl8IPTZyFF0HEfRFLAx0lM8ztAuYyLS2Hy20O4Ln5H/AMXqafBnCyM1uLPERF6bDsvRLigzwuppHXkhALCdJdCTYcjo5KR4vrMyAMGt7reA0lcYwDlM0+UaZ17Nc/qn/wAXi3rZdpxdT51PnbWuB8DoKi+pKSx59vw/P2I704wyot8N/f8AJCERFQCwkowXR/6kp/g31KlSwci0fVQRt22ueJ0q/XVIije8/paT47FesOpY+Ok/ZbZVcmbuubXx0iF4orOsqHAamDMHHWfNaheveSSTrJJPErxUq6122Sm/dlmqgq4KK9j1riNRIPdoXRsk05jhjaSS7NBcTpNzpKhGQaPraiNuwHOdwbp9V0JWDolL1K1/RER1SzzGC+oREVjIYxMqzZkErt0bvRaXDUhc0XWfimXNpZO/NbzcPssbDcVmBAb9ERAEREAVlnbd3NaPMlXlZg1vP1W5AD2KAvIiIDgnSdW9ZlOfcwMiA4NufMqKrZYkqetrKp++eTkHWHotaupcFgrWoJfILJydQOnmihZ2nvawd1za/hrWMpj0UUuflJhtcMikf42DQfNG9IWS7YuR2bImR2UkEcEYs1rbd7nbXHvJWciLlIBvb2wuHdK2RW09dnsFmzM6wgag8GzuetdxXHOmetDquCMEExwuLu4vdoB8B5rOvk6sNv1PBz1ERdBMmTk51poSNYmjI454X0Xl4XpZf4L58w7SmWrpmDSTMzkDc+QX0BiWTNpZNlwGjxIXDnNKmW/g/wDRw3+bq0vj/ZAVn5Co+tqI27Ac93ALAWyyLlcUznOzM8kAXvawVBxuz1Y+o/G/JM3d3pvs5OgKOYyrLRsjGtxueDf917FjSM9pj28io/lzKInmLxfNsGtvuCsnUOoVSx3GqW2/H7ELiYlkbk5rSRr0RehtyANZNhxKqhPEswZR2a+U7TmDgNfqpKsbJtJ1UUbNzRfjtWSr9h0+jTGHy8/UqeTb6trkERF1Ggj2MpPyom/NKPIFZmQo7MHBavFr7y07Nwc7mQPZbzJbLMHBAZqIiAIiIAVZpezfeSebiq5XWaTuBPkkLbNaNzQPJAVqxXTZkUj/AJWOdyaSr60eNqrqsn1btX5LgOLtA9V6jKK20j54e/OJdvJdzN/dUoEXUWELpHQpS3nqpPljYwcXOJPoFzddf6FaW1NUSfNMG+DWD7rCfBz5T1UzoyLWYixBHQwOmlOgaGtHae86mtXFMRdIVVWFw6wwwnVDGc3R9TtblpjFsjKceVvlcHUcWdIsFE1zWObNUW+GJpuGnfI4auGtcPyhXvnlfLI7Oke4uce87B3BY6LfGKRK00RqXjkIirihc9zWtBc5xDWtGkknQAFkbia9EeRjNW9cR8ELC6+zrHfCByuV0jGlXZkce0nOPBur1VeC8ODJ1G1jrdYfzJ3fWRpF9wAso5lev6+Zz/06mj6RqVf6zkqFPYuZeP29zlx16+R3+0TCRZWTsnPncWstcC5voFlly4Ynb+jO4EFVOGPbOPdGLaJaV1cX2ykkzVIrtRSujNntLTa9ju3q0tLTT0zYmmtoL0FeIvD0zIsrzN1Sv53UiwxlOaZ7s92cxrdwuSdQuoip1haj6unaTrec88NgUz0p22Xpdz0vL8sjM9Vwqb0ts3CIit5XiI5bdnVoHysaOdz7qT0bbNCil8+tmO5+b/aAPZS6AfCEBcREQBERAWavskb7DmQPdXlZn1sH1jyufZXkAUM6WqnMya8fPJGzwzrn0UzXNemuqtBSx/NK5/g1v/JZR5N+Ot2ROSIiLpJ09XdeiqlzMmQn53SSc3aPRcJK+jcH0vVUFIzdAy/Ei59Vqs4OHNf/AIS+ZzTplykXVUMFzmMiD7b3vJ08hZc9U96Y6Mtro5LaHwAA97HEEeY5qBLOPBvx9elHQREWRvK4oi9wa0FzibNaBdxJ2ALsfR50efhLVFQAagj4GaxCD/5ei2mBcMUkEEU8DesdIwO699nP0jSBsbp3JiDEjruiju2xzXvOh3eG7uKj8zNhjw7pfk4HOeRL06/C92eYoy7nXhjOj9xw2/SFGURUTJyJ5FjnL8EzTTGmHbEmGDaPNjdIdbjYfxH+6kSiOT8WNiYxhiNmgC4PmsqpxfG6N4aHh5aQ240XPerPiZmLTQoKS8L7kHkY19lrk48s0GXKzrZ5HbAc1vALARFU7Juybm+WT8IqEVFexUxhcQBrJAHEqajCUJaLhwdYXIOs20laDC1H1lQCdTBn+OxTpWHpGHCdcp2RT3xv5ER1DIlCajB61yRyTBTNkjx3GxUhjYGgAagABwCqRTlONVS26462Rdl9lulN70EJRY+UJc2KR25jj/iV0GkieQvjle/e9x5uKmTBoCieFYtAKlwQBERAEREBZfpezuDj6D3V5WW6ZD3NA5kn2CvIAuP9NNVeppo/lhc48XO+wXYFwjpUqs/Kco+RkbP8bn1WdfJ2Ya3YRFERdBMFcMWc5jfmc1vNwHuvp2lizGMbua1vIAL50wpS9bXUjN87CeAOcfRfSC02EZnPzFES6S8N/jKNxYLzQ3lj3kAfGzxHouDr6lXBOkXDf4Ksdmi0Mt5YtwJPxM8D6pW/Y9wrf0P9iKoiLcSR1DoexLYvonnQbyQX3/rYPXmpTjDJliJmjQbNfx2O9lw6grXQSxyxmz2OD2nvB1cNi+iMl5QjyhRskGlkjPiHyu1ObxBUbn4qyKnD+PqcM28e5Wrh8kCRXqulMT3MdrabcdxWZTYfmkYJGNBadXxAHkVQ402Sk4xi21yialZCKUm1pmtRZsuRZ264n8QM4eSwljOuUPEk19fB7GcZf4vYREWBmXIahzNLXObwNlmR4gnb+448bFa9ZWTKTrZo2bC4X/iNa31TtUlGuTW/marIw03NInuSnvdCx0ml5Fzotr1eSy141tgB4L1X6Ee2KTe9FSk9tsLV4llzaWXvAb/c4BbRaHGMloGN+aVvkCVmYlvDMVmhSJajIMdmDgtugCIiAIiFAWYNbz9QHJo+5V5WaXs33ucf8iryAL5xxdVdbX1b987wODfh9l9GP1G2uxtxXz/lLBNcHyPdTSnOe5xLbP1uJ2LZWd+E0m22RxFlT5Lmj7cMrOLHD2WKdGvR5LeSieyWdF1Ln5Th+hsknJth6rvK470L02dV1Enywhvi5/8AxXYlos5IjMe7NfIKNdIGG/xtG9rR+cz82E7c4DS3xGjkpKiwT0csZOLTR8t28N479y8Uy6UMNfhasyMFoZrvG5sn62+/ioaulPa2T8JqcVJBdF6H8RmOZ9I8/BJd8W4SAaR4j0XOls8MzmOtpXDWKiPxu4C3mvJLaMbYKcGmdsxdkzOMT2j4i4RHvv2T6qQ0sAjY1g1NaByCqkiDrXF7EOHEaiq1GV40a7Z2r9WiHnc51xg/bZrcQVnVU7zqJGY3i5c/UjxnWXeyMamjOdxOryUcVX6td6mQ4riPj/pO9Pq7Kd/ELb4cySKiR2eCWNbpsbaTq0rUKc4Uo8yAOOt5z/DYtXTcdX3pSXheWZ5tzqqbXL4LMmDIjqdIO64Psr+ScONp5C8OLjm5ouLWvrW4RWuODjxkpxgk0QMsq6UXFy8BERdhzBRjGD7vp2d7nHyA91J1EsQOzqxjfljHmSUBvsksswcFnrGoW2aFkoAiIgCpkdYE911UrNYfgdwKA9phZjf4i/G2lXVZjqmHQHtPdcXV5AEREBS5gOsA8dKwqnINPJ24IXcWNvzss9EPU2uDX5Lw/BSl5giZEX2z80WvbUtgiIG2/LCIiHhosaYcFfSSRaBIPjicdkg1eB1eK+faukfC90cjXRyNNnMcLEH7L6fWtythynqv9eGOQ7HEWcP6hpWcZ6OvHyfS8Pg+bFOei/Cb6ipZUvaRTxHODiLZ8g7IbvA13XRqbo3oI3Zwp2uN7gOLnjkTZSSOINAa0BrRoDQLADcAFlKz4G63MUo6iipeOdYEnUBcr1Y+UKd0kT2NIaXC2drtvWibai2ltnBFJtJnPcoVXWyvfvcbcNnksdb6XB0w1Ojd4kLElw5UN/bJ4EFUW3EyduUoP+C0wyKdJRkjCpKcySMYNbnAffyXSoow1oaNQAA4BRTCuSXNmc+Rjm5rfhuLfEd3gparD0bHddbnJeW/siI6lcpzUVwv7CIimyLCIiAKHTnPrpTucG8mgKYqF5IOfPK7fI4/5FAS+nFmhXVTGNAVSAIiIArVQ27SrqICCZayO5ziRdattJUR9mSVvBzvuulPpwditOye07EBAY8tVjP3XH+QDvULJjxrVN7TIn/0lp8ipc/IzTsCxZMPNOwIDTRdIJHbg/td9ws2HH8B7TZWeAcPIr2XC7TsWHLhMbkBuYcXUrv3Q3ucHN9Qs+HKkT+zLE7g5v3UKlwodyw5cMOGxAdKDr6tK9XLxkyaPsukbwcQrzMo1keqaQ8fi9UB0pFz6PF9WzX1b+LbelllRdIEg7cDT/FxHkQgJuiisPSDEe3HK3hZ3uFnQ40pXfuFv8muHsgN4iwYMtwP7M0R/qAPIrMZIDqIPA3QFSIiAIiIAiIgCIiAtVUubG925jjyBKimFo9q3+IZc2lmP0W5m3utXhiKzQgJIF6iIAiIgCIiAIiIAiIgC8svUQFJjG5UGnB2K6iAxnUDTsVl+SWnYFnogNPJkBp2BYkuGWnYpGiAiEuFBuWFLhPuU8sqSwIDnMuFnDYsc5EkZ2S9vAkei6YYBuVt1E07EBztlRVx9maXgSSORWRHiisZrc1/8mj1FlN35LadgWPJkJp2BARqLHsw7cMbuBc37rNi6QmfrhkbwId9lmy4aadiw5cKjcgMyHHFM7W57P5NPtdZ0OIqd+qeLxOb6qMy4TWFLhU7kB0GOoa7sua7gQfRXFzB2Hnt1XHDQvWNqY+zLMP6j7oCZYwktT2+aRg87+yqw/HZg4KJNqKibNbK8vaHXFwL31awFN8kxZrBwQGwREQBERAEREAREQBERAEREAREQBERAEREAREQBERAEREAREQHhaFSYRuVaICw6kaditPya07FmIgMBuSmg6gsyNlgq0QBERAEREB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6" name="AutoShape 4" descr="data:image/jpeg;base64,/9j/4AAQSkZJRgABAQAAAQABAAD/2wCEAAkGBhQQEBASEhIPEBAWEBIQEA8UFRQPEBIQFBAVFBQQEhIXGyYeFxkjGRIUHy8gIycpLCwsFR4xNTAqNSYrLCkBCQoKDgwOGg8PGiklHyQtKTQpLDA1KiksLC0sLCw1NSwqLCwvLDQsLC0pLCotLCwsKSwsLCwsLCwsLCksLCwpKf/AABEIAMsA+AMBIgACEQEDEQH/xAAcAAEAAQUBAQAAAAAAAAAAAAAABgIDBAUHAQj/xAA+EAABAwIBCAgEBQMDBQAAAAABAAIDBBEGBRIhMUFRcZEHEzJhgaGxwSJSYtEUI0JDcoKSojPh4hVTwvDx/8QAGgEBAAIDAQAAAAAAAAAAAAAAAAUGAgMEAf/EACwRAAICAgEDAgUEAwEAAAAAAAABAgMEETEFEiETQVFhcaHxQoGRwTKx0SL/2gAMAwEAAhEDEQA/AO4oiIAiIgCK26oaDYkA/wDu1etlB1EHgQUBWiIgCIiAIiIAiIgCIiAIiIAiIgCIiAIiIAiIgCIiAIiIAiIgCIiAIi8KAt05vnHe8+QA9lW6IHWAeIBVukHwDvu7+4k+6vIC1+GbutwJb6J1O5zx439QVdRAWsx3zA8R9il3bmnxI8rK6iAtdadrHeFj7p+IG3OHFp9bK6qTIN45oCkTtP6m81cXhAO4+at/hm7gOHw+iAuorXUbi4eJPqnVu2O5gH0sgLqK18f0Hm37p1jtrT4EH1sgLqK11+8OHgT6L0VDfmHjo9UBcReB19WleoAiIgCIiAIiIAiIgCIiAIiIArdQ6zXHuPoris1XZtvIHNwCAuRtsANwA8lUiIAiKN40xnHk6K+h87geqivr+p25oXqWzKMXJ6RtMtZfho4+snkbG3YNbnHc1uslcyy70ySvJbSxtib/AN2T4nnvDdQ81BMr5Zlq5TLO8vedXytHytGwLCW5QS5JWrEjHzLyzbV2LKuc/mVM57g4sbybZa41b/nk/ud91aRZnWopcIzaXLc8RvHPOw9z3W5XspNknpXrIbB5ZUM2h4s+3c8KGIjSZjKuEuUd3w10l01YQwkwTH9t/ZJ3MfqKly+Wl0bAHSU6JzKarcXRGzY5jpdGdgedre/YtUofAj7sTS7ofwdfReNdcXGkawVRUzBjHOOoNJ5BaW0ltnAlt6Li8IXPP+uTZxIkeLkm17gX2WWVFiqdv6mu4tHsoSPW6Hymv4JN9Mt9mibGnaf0t5aea8/DjYXD+oqPZIxPJNKyMsZp1uFxYDbZSZSmPk15Ee6vg4bqZ0vtmWuqOx58QD7JZ+9p8CPcqzXZUjhzesdm31aCdSpiy1C7VKznb1WburUu1yW/hsxVU2u5J6MjPd8oPA/eyddva8eF/RVMna7U5p4EFVrYmnwYa0WvxLd9uN2+qra8HUQeGlVKh0LTra0+AXp4VorLoAATpFgTocQOV7Kikqg5o03NhfjZAZKIiAIiIArM+tg+q/JpKvKy7TI3ua4+YH3QF5ERAYmVcpMpoZJpDZjGlx3m2oDvK+dcu5akrJ3zyH4nHQ3Yxn6WDuC6P0z5aIZBStPaPWyD6WmzRzvyXKFvrXjZLYdWo979wiIth3BFvcL4Onyg8iIBsYNnzO7De4bz3LoNP0KwBvx1E7nbS0NYL9w0rFySNFl8IPTZyFF0HEfRFLAx0lM8ztAuYyLS2Hy20O4Ln5H/AMXqafBnCyM1uLPERF6bDsvRLigzwuppHXkhALCdJdCTYcjo5KR4vrMyAMGt7reA0lcYwDlM0+UaZ17Nc/qn/wAXi3rZdpxdT51PnbWuB8DoKi+pKSx59vw/P2I704wyot8N/f8AJCERFQCwkowXR/6kp/g31KlSwci0fVQRt22ueJ0q/XVIije8/paT47FesOpY+Ok/ZbZVcmbuubXx0iF4orOsqHAamDMHHWfNaheveSSTrJJPErxUq6122Sm/dlmqgq4KK9j1riNRIPdoXRsk05jhjaSS7NBcTpNzpKhGQaPraiNuwHOdwbp9V0JWDolL1K1/RER1SzzGC+oREVjIYxMqzZkErt0bvRaXDUhc0XWfimXNpZO/NbzcPssbDcVmBAb9ERAEREAVlnbd3NaPMlXlZg1vP1W5AD2KAvIiIDgnSdW9ZlOfcwMiA4NufMqKrZYkqetrKp++eTkHWHotaupcFgrWoJfILJydQOnmihZ2nvawd1za/hrWMpj0UUuflJhtcMikf42DQfNG9IWS7YuR2bImR2UkEcEYs1rbd7nbXHvJWciLlIBvb2wuHdK2RW09dnsFmzM6wgag8GzuetdxXHOmetDquCMEExwuLu4vdoB8B5rOvk6sNv1PBz1ERdBMmTk51poSNYmjI454X0Xl4XpZf4L58w7SmWrpmDSTMzkDc+QX0BiWTNpZNlwGjxIXDnNKmW/g/wDRw3+bq0vj/ZAVn5Co+tqI27Ac93ALAWyyLlcUznOzM8kAXvawVBxuz1Y+o/G/JM3d3pvs5OgKOYyrLRsjGtxueDf917FjSM9pj28io/lzKInmLxfNsGtvuCsnUOoVSx3GqW2/H7ELiYlkbk5rSRr0RehtyANZNhxKqhPEswZR2a+U7TmDgNfqpKsbJtJ1UUbNzRfjtWSr9h0+jTGHy8/UqeTb6trkERF1Ggj2MpPyom/NKPIFZmQo7MHBavFr7y07Nwc7mQPZbzJbLMHBAZqIiAIiIAVZpezfeSebiq5XWaTuBPkkLbNaNzQPJAVqxXTZkUj/AJWOdyaSr60eNqrqsn1btX5LgOLtA9V6jKK20j54e/OJdvJdzN/dUoEXUWELpHQpS3nqpPljYwcXOJPoFzddf6FaW1NUSfNMG+DWD7rCfBz5T1UzoyLWYixBHQwOmlOgaGtHae86mtXFMRdIVVWFw6wwwnVDGc3R9TtblpjFsjKceVvlcHUcWdIsFE1zWObNUW+GJpuGnfI4auGtcPyhXvnlfLI7Oke4uce87B3BY6LfGKRK00RqXjkIirihc9zWtBc5xDWtGkknQAFkbia9EeRjNW9cR8ELC6+zrHfCByuV0jGlXZkce0nOPBur1VeC8ODJ1G1jrdYfzJ3fWRpF9wAso5lev6+Zz/06mj6RqVf6zkqFPYuZeP29zlx16+R3+0TCRZWTsnPncWstcC5voFlly4Ynb+jO4EFVOGPbOPdGLaJaV1cX2ykkzVIrtRSujNntLTa9ju3q0tLTT0zYmmtoL0FeIvD0zIsrzN1Sv53UiwxlOaZ7s92cxrdwuSdQuoip1haj6unaTrec88NgUz0p22Xpdz0vL8sjM9Vwqb0ts3CIit5XiI5bdnVoHysaOdz7qT0bbNCil8+tmO5+b/aAPZS6AfCEBcREQBERAWavskb7DmQPdXlZn1sH1jyufZXkAUM6WqnMya8fPJGzwzrn0UzXNemuqtBSx/NK5/g1v/JZR5N+Ot2ROSIiLpJ09XdeiqlzMmQn53SSc3aPRcJK+jcH0vVUFIzdAy/Ei59Vqs4OHNf/AIS+ZzTplykXVUMFzmMiD7b3vJ08hZc9U96Y6Mtro5LaHwAA97HEEeY5qBLOPBvx9elHQREWRvK4oi9wa0FzibNaBdxJ2ALsfR50efhLVFQAagj4GaxCD/5ei2mBcMUkEEU8DesdIwO699nP0jSBsbp3JiDEjruiju2xzXvOh3eG7uKj8zNhjw7pfk4HOeRL06/C92eYoy7nXhjOj9xw2/SFGURUTJyJ5FjnL8EzTTGmHbEmGDaPNjdIdbjYfxH+6kSiOT8WNiYxhiNmgC4PmsqpxfG6N4aHh5aQ240XPerPiZmLTQoKS8L7kHkY19lrk48s0GXKzrZ5HbAc1vALARFU7Juybm+WT8IqEVFexUxhcQBrJAHEqajCUJaLhwdYXIOs20laDC1H1lQCdTBn+OxTpWHpGHCdcp2RT3xv5ER1DIlCajB61yRyTBTNkjx3GxUhjYGgAagABwCqRTlONVS26462Rdl9lulN70EJRY+UJc2KR25jj/iV0GkieQvjle/e9x5uKmTBoCieFYtAKlwQBERAEREBZfpezuDj6D3V5WW6ZD3NA5kn2CvIAuP9NNVeppo/lhc48XO+wXYFwjpUqs/Kco+RkbP8bn1WdfJ2Ya3YRFERdBMFcMWc5jfmc1vNwHuvp2lizGMbua1vIAL50wpS9bXUjN87CeAOcfRfSC02EZnPzFES6S8N/jKNxYLzQ3lj3kAfGzxHouDr6lXBOkXDf4Ksdmi0Mt5YtwJPxM8D6pW/Y9wrf0P9iKoiLcSR1DoexLYvonnQbyQX3/rYPXmpTjDJliJmjQbNfx2O9lw6grXQSxyxmz2OD2nvB1cNi+iMl5QjyhRskGlkjPiHyu1ObxBUbn4qyKnD+PqcM28e5Wrh8kCRXqulMT3MdrabcdxWZTYfmkYJGNBadXxAHkVQ402Sk4xi21yialZCKUm1pmtRZsuRZ264n8QM4eSwljOuUPEk19fB7GcZf4vYREWBmXIahzNLXObwNlmR4gnb+448bFa9ZWTKTrZo2bC4X/iNa31TtUlGuTW/marIw03NInuSnvdCx0ml5Fzotr1eSy141tgB4L1X6Ee2KTe9FSk9tsLV4llzaWXvAb/c4BbRaHGMloGN+aVvkCVmYlvDMVmhSJajIMdmDgtugCIiAIiFAWYNbz9QHJo+5V5WaXs33ucf8iryAL5xxdVdbX1b987wODfh9l9GP1G2uxtxXz/lLBNcHyPdTSnOe5xLbP1uJ2LZWd+E0m22RxFlT5Lmj7cMrOLHD2WKdGvR5LeSieyWdF1Ln5Th+hsknJth6rvK470L02dV1Enywhvi5/8AxXYlos5IjMe7NfIKNdIGG/xtG9rR+cz82E7c4DS3xGjkpKiwT0csZOLTR8t28N479y8Uy6UMNfhasyMFoZrvG5sn62+/ioaulPa2T8JqcVJBdF6H8RmOZ9I8/BJd8W4SAaR4j0XOls8MzmOtpXDWKiPxu4C3mvJLaMbYKcGmdsxdkzOMT2j4i4RHvv2T6qQ0sAjY1g1NaByCqkiDrXF7EOHEaiq1GV40a7Z2r9WiHnc51xg/bZrcQVnVU7zqJGY3i5c/UjxnWXeyMamjOdxOryUcVX6td6mQ4riPj/pO9Pq7Kd/ELb4cySKiR2eCWNbpsbaTq0rUKc4Uo8yAOOt5z/DYtXTcdX3pSXheWZ5tzqqbXL4LMmDIjqdIO64Psr+ScONp5C8OLjm5ouLWvrW4RWuODjxkpxgk0QMsq6UXFy8BERdhzBRjGD7vp2d7nHyA91J1EsQOzqxjfljHmSUBvsksswcFnrGoW2aFkoAiIgCpkdYE911UrNYfgdwKA9phZjf4i/G2lXVZjqmHQHtPdcXV5AEREBS5gOsA8dKwqnINPJ24IXcWNvzss9EPU2uDX5Lw/BSl5giZEX2z80WvbUtgiIG2/LCIiHhosaYcFfSSRaBIPjicdkg1eB1eK+faukfC90cjXRyNNnMcLEH7L6fWtythynqv9eGOQ7HEWcP6hpWcZ6OvHyfS8Pg+bFOei/Cb6ipZUvaRTxHODiLZ8g7IbvA13XRqbo3oI3Zwp2uN7gOLnjkTZSSOINAa0BrRoDQLADcAFlKz4G63MUo6iipeOdYEnUBcr1Y+UKd0kT2NIaXC2drtvWibai2ltnBFJtJnPcoVXWyvfvcbcNnksdb6XB0w1Ojd4kLElw5UN/bJ4EFUW3EyduUoP+C0wyKdJRkjCpKcySMYNbnAffyXSoow1oaNQAA4BRTCuSXNmc+Rjm5rfhuLfEd3gparD0bHddbnJeW/siI6lcpzUVwv7CIimyLCIiAKHTnPrpTucG8mgKYqF5IOfPK7fI4/5FAS+nFmhXVTGNAVSAIiIArVQ27SrqICCZayO5ziRdattJUR9mSVvBzvuulPpwditOye07EBAY8tVjP3XH+QDvULJjxrVN7TIn/0lp8ipc/IzTsCxZMPNOwIDTRdIJHbg/td9ws2HH8B7TZWeAcPIr2XC7TsWHLhMbkBuYcXUrv3Q3ucHN9Qs+HKkT+zLE7g5v3UKlwodyw5cMOGxAdKDr6tK9XLxkyaPsukbwcQrzMo1keqaQ8fi9UB0pFz6PF9WzX1b+LbelllRdIEg7cDT/FxHkQgJuiisPSDEe3HK3hZ3uFnQ40pXfuFv8muHsgN4iwYMtwP7M0R/qAPIrMZIDqIPA3QFSIiAIiIAiIgCIiAtVUubG925jjyBKimFo9q3+IZc2lmP0W5m3utXhiKzQgJIF6iIAiIgCIiAIiIAiIgC8svUQFJjG5UGnB2K6iAxnUDTsVl+SWnYFnogNPJkBp2BYkuGWnYpGiAiEuFBuWFLhPuU8sqSwIDnMuFnDYsc5EkZ2S9vAkei6YYBuVt1E07EBztlRVx9maXgSSORWRHiisZrc1/8mj1FlN35LadgWPJkJp2BARqLHsw7cMbuBc37rNi6QmfrhkbwId9lmy4aadiw5cKjcgMyHHFM7W57P5NPtdZ0OIqd+qeLxOb6qMy4TWFLhU7kB0GOoa7sua7gQfRXFzB2Hnt1XHDQvWNqY+zLMP6j7oCZYwktT2+aRg87+yqw/HZg4KJNqKibNbK8vaHXFwL31awFN8kxZrBwQGwREQBERAEREAREQBERAEREAREQBERAEREAREQBERAEREAREQHhaFSYRuVaICw6kaditPya07FmIgMBuSmg6gsyNlgq0QBERAEREB//9k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3074" name="Picture 2" descr="http://simpleicon.com/wp-content/uploads/stopwatch-1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262787" y="1196752"/>
            <a:ext cx="765597" cy="765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ZoneTexte 6"/>
          <p:cNvSpPr txBox="1"/>
          <p:nvPr/>
        </p:nvSpPr>
        <p:spPr>
          <a:xfrm>
            <a:off x="8020490" y="1287162"/>
            <a:ext cx="74236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dirty="0" smtClean="0"/>
              <a:t>10’</a:t>
            </a:r>
            <a:endParaRPr lang="fr-FR" sz="3200" dirty="0"/>
          </a:p>
        </p:txBody>
      </p:sp>
      <p:pic>
        <p:nvPicPr>
          <p:cNvPr id="11268" name="Picture 4" descr="http://omanhotels.com/surplaza/wp-content/uploads/2013/02/hot-deal-2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1529" y="2204864"/>
            <a:ext cx="2417118" cy="1115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ZoneTexte 13"/>
          <p:cNvSpPr txBox="1"/>
          <p:nvPr/>
        </p:nvSpPr>
        <p:spPr>
          <a:xfrm>
            <a:off x="454860" y="3933056"/>
            <a:ext cx="4185163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5088" lvl="1">
              <a:buSzPct val="100000"/>
            </a:pPr>
            <a:r>
              <a:rPr lang="fr-FR" sz="2000" b="1" dirty="0" smtClean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ests</a:t>
            </a:r>
            <a:endParaRPr lang="fr-FR" sz="2000" b="1" dirty="0">
              <a:solidFill>
                <a:schemeClr val="accent5">
                  <a:lumMod val="75000"/>
                </a:schemeClr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65088" lvl="1">
              <a:buSzPct val="100000"/>
            </a:pP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 err="1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Mele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, </a:t>
            </a:r>
            <a:r>
              <a:rPr lang="fr-FR" sz="2000" b="1" dirty="0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Pommes, Pommes, </a:t>
            </a:r>
            <a:r>
              <a:rPr lang="fr-FR" sz="2000" b="1" dirty="0" err="1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Mele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 -&gt; 200 </a:t>
            </a:r>
          </a:p>
          <a:p>
            <a:pPr marL="65088" lvl="1">
              <a:buSzPct val="100000"/>
            </a:pP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Bananas 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-&gt; 150 </a:t>
            </a:r>
          </a:p>
          <a:p>
            <a:pPr marL="65088" lvl="1">
              <a:buSzPct val="100000"/>
            </a:pP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 err="1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Mele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, </a:t>
            </a:r>
            <a:r>
              <a:rPr lang="fr-FR" sz="2000" b="1" dirty="0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Pommes, Pommes, </a:t>
            </a:r>
            <a:r>
              <a:rPr lang="fr-FR" sz="2000" b="1" dirty="0" err="1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Apples</a:t>
            </a:r>
            <a:r>
              <a:rPr lang="fr-FR" sz="2000" b="1" dirty="0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, </a:t>
            </a:r>
            <a:r>
              <a:rPr lang="fr-FR" sz="2000" b="1" dirty="0" err="1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Mele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 -&gt; 150 </a:t>
            </a:r>
          </a:p>
        </p:txBody>
      </p:sp>
      <p:sp>
        <p:nvSpPr>
          <p:cNvPr id="15" name="ZoneTexte 14"/>
          <p:cNvSpPr txBox="1"/>
          <p:nvPr/>
        </p:nvSpPr>
        <p:spPr>
          <a:xfrm>
            <a:off x="4853335" y="4174102"/>
            <a:ext cx="3538339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5088" lvl="1">
              <a:buSzPct val="100000"/>
            </a:pPr>
            <a:r>
              <a:rPr lang="fr-FR" sz="2000" b="1" dirty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Tests </a:t>
            </a:r>
            <a:r>
              <a:rPr lang="fr-FR" sz="2000" b="1" dirty="0" smtClean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2</a:t>
            </a:r>
            <a:endParaRPr lang="fr-FR" sz="2000" b="1" dirty="0">
              <a:solidFill>
                <a:schemeClr val="accent5">
                  <a:lumMod val="75000"/>
                </a:schemeClr>
              </a:solidFill>
              <a:latin typeface="Consolas" panose="020B0609020204030204" pitchFamily="49" charset="0"/>
              <a:ea typeface="Anonymous Pro" panose="02060609030202000504" pitchFamily="49" charset="0"/>
              <a:cs typeface="Consolas" panose="020B0609020204030204" pitchFamily="49" charset="0"/>
            </a:endParaRPr>
          </a:p>
          <a:p>
            <a:pPr marL="65088" lvl="1">
              <a:buSzPct val="100000"/>
            </a:pP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 err="1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Mele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, </a:t>
            </a:r>
            <a:r>
              <a:rPr lang="fr-FR" sz="2000" b="1" dirty="0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Pommes, </a:t>
            </a:r>
            <a:r>
              <a:rPr lang="fr-FR" sz="2000" b="1" dirty="0" err="1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Apples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, Pommes, </a:t>
            </a:r>
            <a:r>
              <a:rPr lang="fr-FR" sz="2000" b="1" dirty="0" err="1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Mele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 -&gt; 100 </a:t>
            </a:r>
          </a:p>
          <a:p>
            <a:pPr marL="65088" lvl="1">
              <a:buSzPct val="100000"/>
            </a:pP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Bananas 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-&gt; 250</a:t>
            </a:r>
          </a:p>
        </p:txBody>
      </p:sp>
    </p:spTree>
    <p:extLst>
      <p:ext uri="{BB962C8B-B14F-4D97-AF65-F5344CB8AC3E}">
        <p14:creationId xmlns:p14="http://schemas.microsoft.com/office/powerpoint/2010/main" val="833423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395536" y="2132856"/>
            <a:ext cx="8291264" cy="4392488"/>
          </a:xfrm>
        </p:spPr>
        <p:txBody>
          <a:bodyPr/>
          <a:lstStyle/>
          <a:p>
            <a:r>
              <a:rPr lang="en-US" sz="2400" dirty="0" smtClean="0"/>
              <a:t>Have you used a source control software ?</a:t>
            </a:r>
          </a:p>
          <a:p>
            <a:r>
              <a:rPr lang="en-US" sz="2400" dirty="0" smtClean="0"/>
              <a:t>Have you coded some </a:t>
            </a:r>
            <a:r>
              <a:rPr lang="en-US" sz="2400" dirty="0" err="1" smtClean="0"/>
              <a:t>unitests</a:t>
            </a:r>
            <a:r>
              <a:rPr lang="en-US" sz="2400" dirty="0" smtClean="0"/>
              <a:t> ? From which iteration ?</a:t>
            </a:r>
          </a:p>
          <a:p>
            <a:r>
              <a:rPr lang="en-US" sz="2400" dirty="0" smtClean="0"/>
              <a:t>Have you coded and maintained Acceptance tests ?</a:t>
            </a:r>
          </a:p>
          <a:p>
            <a:r>
              <a:rPr lang="en-US" sz="2400" dirty="0" smtClean="0"/>
              <a:t>What happened to the CSV code when reverted ?</a:t>
            </a:r>
          </a:p>
          <a:p>
            <a:r>
              <a:rPr lang="en-US" sz="2400" dirty="0" smtClean="0"/>
              <a:t>Do you think your code is clean ?</a:t>
            </a:r>
          </a:p>
          <a:p>
            <a:r>
              <a:rPr lang="en-US" sz="2400" dirty="0" smtClean="0"/>
              <a:t>Does the software match the business need ?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FC98-F726-4387-BD61-63831D042500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460375" y="1161913"/>
            <a:ext cx="8229600" cy="782960"/>
          </a:xfrm>
        </p:spPr>
        <p:txBody>
          <a:bodyPr/>
          <a:lstStyle/>
          <a:p>
            <a:r>
              <a:rPr lang="fr-FR" sz="3600" dirty="0" smtClean="0"/>
              <a:t>Conclusion</a:t>
            </a:r>
            <a:r>
              <a:rPr lang="fr-FR" sz="1800" dirty="0"/>
              <a:t/>
            </a:r>
            <a:br>
              <a:rPr lang="fr-FR" sz="1800" dirty="0"/>
            </a:br>
            <a:endParaRPr lang="fr-FR" sz="1800" dirty="0"/>
          </a:p>
        </p:txBody>
      </p:sp>
      <p:sp>
        <p:nvSpPr>
          <p:cNvPr id="5" name="AutoShape 2" descr="data:image/jpeg;base64,/9j/4AAQSkZJRgABAQAAAQABAAD/2wCEAAkGBhQQEBASEhIPEBAWEBIQEA8UFRQPEBIQFBAVFBQQEhIXGyYeFxkjGRIUHy8gIycpLCwsFR4xNTAqNSYrLCkBCQoKDgwOGg8PGiklHyQtKTQpLDA1KiksLC0sLCw1NSwqLCwvLDQsLC0pLCotLCwsKSwsLCwsLCwsLCksLCwpKf/AABEIAMsA+AMBIgACEQEDEQH/xAAcAAEAAQUBAQAAAAAAAAAAAAAABgIDBAUHAQj/xAA+EAABAwIBCAgEBQMDBQAAAAABAAIDBBEGBRIhMUFRcZEHEzJhgaGxwSJSYtEUI0JDcoKSojPh4hVTwvDx/8QAGgEBAAIDAQAAAAAAAAAAAAAAAAUGAgMEAf/EACwRAAICAgEDAgUEAwEAAAAAAAABAgMEETEFEiETQVFhcaHxQoGRwTKx0SL/2gAMAwEAAhEDEQA/AO4oiIAiIgCK26oaDYkA/wDu1etlB1EHgQUBWiIgCIiAIiIAiIgCIiAIiIAiIgCIiAIiIAiIgCIiAIiIAiIgCIiAIi8KAt05vnHe8+QA9lW6IHWAeIBVukHwDvu7+4k+6vIC1+GbutwJb6J1O5zx439QVdRAWsx3zA8R9il3bmnxI8rK6iAtdadrHeFj7p+IG3OHFp9bK6qTIN45oCkTtP6m81cXhAO4+at/hm7gOHw+iAuorXUbi4eJPqnVu2O5gH0sgLqK18f0Hm37p1jtrT4EH1sgLqK11+8OHgT6L0VDfmHjo9UBcReB19WleoAiIgCIiAIiIAiIgCIiAIiIArdQ6zXHuPoris1XZtvIHNwCAuRtsANwA8lUiIAiKN40xnHk6K+h87geqivr+p25oXqWzKMXJ6RtMtZfho4+snkbG3YNbnHc1uslcyy70ySvJbSxtib/AN2T4nnvDdQ81BMr5Zlq5TLO8vedXytHytGwLCW5QS5JWrEjHzLyzbV2LKuc/mVM57g4sbybZa41b/nk/ud91aRZnWopcIzaXLc8RvHPOw9z3W5XspNknpXrIbB5ZUM2h4s+3c8KGIjSZjKuEuUd3w10l01YQwkwTH9t/ZJ3MfqKly+Wl0bAHSU6JzKarcXRGzY5jpdGdgedre/YtUofAj7sTS7ofwdfReNdcXGkawVRUzBjHOOoNJ5BaW0ltnAlt6Li8IXPP+uTZxIkeLkm17gX2WWVFiqdv6mu4tHsoSPW6Hymv4JN9Mt9mibGnaf0t5aea8/DjYXD+oqPZIxPJNKyMsZp1uFxYDbZSZSmPk15Ee6vg4bqZ0vtmWuqOx58QD7JZ+9p8CPcqzXZUjhzesdm31aCdSpiy1C7VKznb1WburUu1yW/hsxVU2u5J6MjPd8oPA/eyddva8eF/RVMna7U5p4EFVrYmnwYa0WvxLd9uN2+qra8HUQeGlVKh0LTra0+AXp4VorLoAATpFgTocQOV7Kikqg5o03NhfjZAZKIiAIiIArM+tg+q/JpKvKy7TI3ua4+YH3QF5ERAYmVcpMpoZJpDZjGlx3m2oDvK+dcu5akrJ3zyH4nHQ3Yxn6WDuC6P0z5aIZBStPaPWyD6WmzRzvyXKFvrXjZLYdWo979wiIth3BFvcL4Onyg8iIBsYNnzO7De4bz3LoNP0KwBvx1E7nbS0NYL9w0rFySNFl8IPTZyFF0HEfRFLAx0lM8ztAuYyLS2Hy20O4Ln5H/AMXqafBnCyM1uLPERF6bDsvRLigzwuppHXkhALCdJdCTYcjo5KR4vrMyAMGt7reA0lcYwDlM0+UaZ17Nc/qn/wAXi3rZdpxdT51PnbWuB8DoKi+pKSx59vw/P2I704wyot8N/f8AJCERFQCwkowXR/6kp/g31KlSwci0fVQRt22ueJ0q/XVIije8/paT47FesOpY+Ok/ZbZVcmbuubXx0iF4orOsqHAamDMHHWfNaheveSSTrJJPErxUq6122Sm/dlmqgq4KK9j1riNRIPdoXRsk05jhjaSS7NBcTpNzpKhGQaPraiNuwHOdwbp9V0JWDolL1K1/RER1SzzGC+oREVjIYxMqzZkErt0bvRaXDUhc0XWfimXNpZO/NbzcPssbDcVmBAb9ERAEREAVlnbd3NaPMlXlZg1vP1W5AD2KAvIiIDgnSdW9ZlOfcwMiA4NufMqKrZYkqetrKp++eTkHWHotaupcFgrWoJfILJydQOnmihZ2nvawd1za/hrWMpj0UUuflJhtcMikf42DQfNG9IWS7YuR2bImR2UkEcEYs1rbd7nbXHvJWciLlIBvb2wuHdK2RW09dnsFmzM6wgag8GzuetdxXHOmetDquCMEExwuLu4vdoB8B5rOvk6sNv1PBz1ERdBMmTk51poSNYmjI454X0Xl4XpZf4L58w7SmWrpmDSTMzkDc+QX0BiWTNpZNlwGjxIXDnNKmW/g/wDRw3+bq0vj/ZAVn5Co+tqI27Ac93ALAWyyLlcUznOzM8kAXvawVBxuz1Y+o/G/JM3d3pvs5OgKOYyrLRsjGtxueDf917FjSM9pj28io/lzKInmLxfNsGtvuCsnUOoVSx3GqW2/H7ELiYlkbk5rSRr0RehtyANZNhxKqhPEswZR2a+U7TmDgNfqpKsbJtJ1UUbNzRfjtWSr9h0+jTGHy8/UqeTb6trkERF1Ggj2MpPyom/NKPIFZmQo7MHBavFr7y07Nwc7mQPZbzJbLMHBAZqIiAIiIAVZpezfeSebiq5XWaTuBPkkLbNaNzQPJAVqxXTZkUj/AJWOdyaSr60eNqrqsn1btX5LgOLtA9V6jKK20j54e/OJdvJdzN/dUoEXUWELpHQpS3nqpPljYwcXOJPoFzddf6FaW1NUSfNMG+DWD7rCfBz5T1UzoyLWYixBHQwOmlOgaGtHae86mtXFMRdIVVWFw6wwwnVDGc3R9TtblpjFsjKceVvlcHUcWdIsFE1zWObNUW+GJpuGnfI4auGtcPyhXvnlfLI7Oke4uce87B3BY6LfGKRK00RqXjkIirihc9zWtBc5xDWtGkknQAFkbia9EeRjNW9cR8ELC6+zrHfCByuV0jGlXZkce0nOPBur1VeC8ODJ1G1jrdYfzJ3fWRpF9wAso5lev6+Zz/06mj6RqVf6zkqFPYuZeP29zlx16+R3+0TCRZWTsnPncWstcC5voFlly4Ynb+jO4EFVOGPbOPdGLaJaV1cX2ykkzVIrtRSujNntLTa9ju3q0tLTT0zYmmtoL0FeIvD0zIsrzN1Sv53UiwxlOaZ7s92cxrdwuSdQuoip1haj6unaTrec88NgUz0p22Xpdz0vL8sjM9Vwqb0ts3CIit5XiI5bdnVoHysaOdz7qT0bbNCil8+tmO5+b/aAPZS6AfCEBcREQBERAWavskb7DmQPdXlZn1sH1jyufZXkAUM6WqnMya8fPJGzwzrn0UzXNemuqtBSx/NK5/g1v/JZR5N+Ot2ROSIiLpJ09XdeiqlzMmQn53SSc3aPRcJK+jcH0vVUFIzdAy/Ei59Vqs4OHNf/AIS+ZzTplykXVUMFzmMiD7b3vJ08hZc9U96Y6Mtro5LaHwAA97HEEeY5qBLOPBvx9elHQREWRvK4oi9wa0FzibNaBdxJ2ALsfR50efhLVFQAagj4GaxCD/5ei2mBcMUkEEU8DesdIwO699nP0jSBsbp3JiDEjruiju2xzXvOh3eG7uKj8zNhjw7pfk4HOeRL06/C92eYoy7nXhjOj9xw2/SFGURUTJyJ5FjnL8EzTTGmHbEmGDaPNjdIdbjYfxH+6kSiOT8WNiYxhiNmgC4PmsqpxfG6N4aHh5aQ240XPerPiZmLTQoKS8L7kHkY19lrk48s0GXKzrZ5HbAc1vALARFU7Juybm+WT8IqEVFexUxhcQBrJAHEqajCUJaLhwdYXIOs20laDC1H1lQCdTBn+OxTpWHpGHCdcp2RT3xv5ER1DIlCajB61yRyTBTNkjx3GxUhjYGgAagABwCqRTlONVS26462Rdl9lulN70EJRY+UJc2KR25jj/iV0GkieQvjle/e9x5uKmTBoCieFYtAKlwQBERAEREBZfpezuDj6D3V5WW6ZD3NA5kn2CvIAuP9NNVeppo/lhc48XO+wXYFwjpUqs/Kco+RkbP8bn1WdfJ2Ya3YRFERdBMFcMWc5jfmc1vNwHuvp2lizGMbua1vIAL50wpS9bXUjN87CeAOcfRfSC02EZnPzFES6S8N/jKNxYLzQ3lj3kAfGzxHouDr6lXBOkXDf4Ksdmi0Mt5YtwJPxM8D6pW/Y9wrf0P9iKoiLcSR1DoexLYvonnQbyQX3/rYPXmpTjDJliJmjQbNfx2O9lw6grXQSxyxmz2OD2nvB1cNi+iMl5QjyhRskGlkjPiHyu1ObxBUbn4qyKnD+PqcM28e5Wrh8kCRXqulMT3MdrabcdxWZTYfmkYJGNBadXxAHkVQ402Sk4xi21yialZCKUm1pmtRZsuRZ264n8QM4eSwljOuUPEk19fB7GcZf4vYREWBmXIahzNLXObwNlmR4gnb+448bFa9ZWTKTrZo2bC4X/iNa31TtUlGuTW/marIw03NInuSnvdCx0ml5Fzotr1eSy141tgB4L1X6Ee2KTe9FSk9tsLV4llzaWXvAb/c4BbRaHGMloGN+aVvkCVmYlvDMVmhSJajIMdmDgtugCIiAIiFAWYNbz9QHJo+5V5WaXs33ucf8iryAL5xxdVdbX1b987wODfh9l9GP1G2uxtxXz/lLBNcHyPdTSnOe5xLbP1uJ2LZWd+E0m22RxFlT5Lmj7cMrOLHD2WKdGvR5LeSieyWdF1Ln5Th+hsknJth6rvK470L02dV1Enywhvi5/8AxXYlos5IjMe7NfIKNdIGG/xtG9rR+cz82E7c4DS3xGjkpKiwT0csZOLTR8t28N479y8Uy6UMNfhasyMFoZrvG5sn62+/ioaulPa2T8JqcVJBdF6H8RmOZ9I8/BJd8W4SAaR4j0XOls8MzmOtpXDWKiPxu4C3mvJLaMbYKcGmdsxdkzOMT2j4i4RHvv2T6qQ0sAjY1g1NaByCqkiDrXF7EOHEaiq1GV40a7Z2r9WiHnc51xg/bZrcQVnVU7zqJGY3i5c/UjxnWXeyMamjOdxOryUcVX6td6mQ4riPj/pO9Pq7Kd/ELb4cySKiR2eCWNbpsbaTq0rUKc4Uo8yAOOt5z/DYtXTcdX3pSXheWZ5tzqqbXL4LMmDIjqdIO64Psr+ScONp5C8OLjm5ouLWvrW4RWuODjxkpxgk0QMsq6UXFy8BERdhzBRjGD7vp2d7nHyA91J1EsQOzqxjfljHmSUBvsksswcFnrGoW2aFkoAiIgCpkdYE911UrNYfgdwKA9phZjf4i/G2lXVZjqmHQHtPdcXV5AEREBS5gOsA8dKwqnINPJ24IXcWNvzss9EPU2uDX5Lw/BSl5giZEX2z80WvbUtgiIG2/LCIiHhosaYcFfSSRaBIPjicdkg1eB1eK+faukfC90cjXRyNNnMcLEH7L6fWtythynqv9eGOQ7HEWcP6hpWcZ6OvHyfS8Pg+bFOei/Cb6ipZUvaRTxHODiLZ8g7IbvA13XRqbo3oI3Zwp2uN7gOLnjkTZSSOINAa0BrRoDQLADcAFlKz4G63MUo6iipeOdYEnUBcr1Y+UKd0kT2NIaXC2drtvWibai2ltnBFJtJnPcoVXWyvfvcbcNnksdb6XB0w1Ojd4kLElw5UN/bJ4EFUW3EyduUoP+C0wyKdJRkjCpKcySMYNbnAffyXSoow1oaNQAA4BRTCuSXNmc+Rjm5rfhuLfEd3gparD0bHddbnJeW/siI6lcpzUVwv7CIimyLCIiAKHTnPrpTucG8mgKYqF5IOfPK7fI4/5FAS+nFmhXVTGNAVSAIiIArVQ27SrqICCZayO5ziRdattJUR9mSVvBzvuulPpwditOye07EBAY8tVjP3XH+QDvULJjxrVN7TIn/0lp8ipc/IzTsCxZMPNOwIDTRdIJHbg/td9ws2HH8B7TZWeAcPIr2XC7TsWHLhMbkBuYcXUrv3Q3ucHN9Qs+HKkT+zLE7g5v3UKlwodyw5cMOGxAdKDr6tK9XLxkyaPsukbwcQrzMo1keqaQ8fi9UB0pFz6PF9WzX1b+LbelllRdIEg7cDT/FxHkQgJuiisPSDEe3HK3hZ3uFnQ40pXfuFv8muHsgN4iwYMtwP7M0R/qAPIrMZIDqIPA3QFSIiAIiIAiIgCIiAtVUubG925jjyBKimFo9q3+IZc2lmP0W5m3utXhiKzQgJIF6iIAiIgCIiAIiIAiIgC8svUQFJjG5UGnB2K6iAxnUDTsVl+SWnYFnogNPJkBp2BYkuGWnYpGiAiEuFBuWFLhPuU8sqSwIDnMuFnDYsc5EkZ2S9vAkei6YYBuVt1E07EBztlRVx9maXgSSORWRHiisZrc1/8mj1FlN35LadgWPJkJp2BARqLHsw7cMbuBc37rNi6QmfrhkbwId9lmy4aadiw5cKjcgMyHHFM7W57P5NPtdZ0OIqd+qeLxOb6qMy4TWFLhU7kB0GOoa7sua7gQfRXFzB2Hnt1XHDQvWNqY+zLMP6j7oCZYwktT2+aRg87+yqw/HZg4KJNqKibNbK8vaHXFwL31awFN8kxZrBwQGwREQBERAEREAREQBERAEREAREQBERAEREAREQBERAEREAREQHhaFSYRuVaICw6kaditPya07FmIgMBuSmg6gsyNlgq0QBERAEREB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6" name="AutoShape 4" descr="data:image/jpeg;base64,/9j/4AAQSkZJRgABAQAAAQABAAD/2wCEAAkGBhQQEBASEhIPEBAWEBIQEA8UFRQPEBIQFBAVFBQQEhIXGyYeFxkjGRIUHy8gIycpLCwsFR4xNTAqNSYrLCkBCQoKDgwOGg8PGiklHyQtKTQpLDA1KiksLC0sLCw1NSwqLCwvLDQsLC0pLCotLCwsKSwsLCwsLCwsLCksLCwpKf/AABEIAMsA+AMBIgACEQEDEQH/xAAcAAEAAQUBAQAAAAAAAAAAAAAABgIDBAUHAQj/xAA+EAABAwIBCAgEBQMDBQAAAAABAAIDBBEGBRIhMUFRcZEHEzJhgaGxwSJSYtEUI0JDcoKSojPh4hVTwvDx/8QAGgEBAAIDAQAAAAAAAAAAAAAAAAUGAgMEAf/EACwRAAICAgEDAgUEAwEAAAAAAAABAgMEETEFEiETQVFhcaHxQoGRwTKx0SL/2gAMAwEAAhEDEQA/AO4oiIAiIgCK26oaDYkA/wDu1etlB1EHgQUBWiIgCIiAIiIAiIgCIiAIiIAiIgCIiAIiIAiIgCIiAIiIAiIgCIiAIi8KAt05vnHe8+QA9lW6IHWAeIBVukHwDvu7+4k+6vIC1+GbutwJb6J1O5zx439QVdRAWsx3zA8R9il3bmnxI8rK6iAtdadrHeFj7p+IG3OHFp9bK6qTIN45oCkTtP6m81cXhAO4+at/hm7gOHw+iAuorXUbi4eJPqnVu2O5gH0sgLqK18f0Hm37p1jtrT4EH1sgLqK11+8OHgT6L0VDfmHjo9UBcReB19WleoAiIgCIiAIiIAiIgCIiAIiIArdQ6zXHuPoris1XZtvIHNwCAuRtsANwA8lUiIAiKN40xnHk6K+h87geqivr+p25oXqWzKMXJ6RtMtZfho4+snkbG3YNbnHc1uslcyy70ySvJbSxtib/AN2T4nnvDdQ81BMr5Zlq5TLO8vedXytHytGwLCW5QS5JWrEjHzLyzbV2LKuc/mVM57g4sbybZa41b/nk/ud91aRZnWopcIzaXLc8RvHPOw9z3W5XspNknpXrIbB5ZUM2h4s+3c8KGIjSZjKuEuUd3w10l01YQwkwTH9t/ZJ3MfqKly+Wl0bAHSU6JzKarcXRGzY5jpdGdgedre/YtUofAj7sTS7ofwdfReNdcXGkawVRUzBjHOOoNJ5BaW0ltnAlt6Li8IXPP+uTZxIkeLkm17gX2WWVFiqdv6mu4tHsoSPW6Hymv4JN9Mt9mibGnaf0t5aea8/DjYXD+oqPZIxPJNKyMsZp1uFxYDbZSZSmPk15Ee6vg4bqZ0vtmWuqOx58QD7JZ+9p8CPcqzXZUjhzesdm31aCdSpiy1C7VKznb1WburUu1yW/hsxVU2u5J6MjPd8oPA/eyddva8eF/RVMna7U5p4EFVrYmnwYa0WvxLd9uN2+qra8HUQeGlVKh0LTra0+AXp4VorLoAATpFgTocQOV7Kikqg5o03NhfjZAZKIiAIiIArM+tg+q/JpKvKy7TI3ua4+YH3QF5ERAYmVcpMpoZJpDZjGlx3m2oDvK+dcu5akrJ3zyH4nHQ3Yxn6WDuC6P0z5aIZBStPaPWyD6WmzRzvyXKFvrXjZLYdWo979wiIth3BFvcL4Onyg8iIBsYNnzO7De4bz3LoNP0KwBvx1E7nbS0NYL9w0rFySNFl8IPTZyFF0HEfRFLAx0lM8ztAuYyLS2Hy20O4Ln5H/AMXqafBnCyM1uLPERF6bDsvRLigzwuppHXkhALCdJdCTYcjo5KR4vrMyAMGt7reA0lcYwDlM0+UaZ17Nc/qn/wAXi3rZdpxdT51PnbWuB8DoKi+pKSx59vw/P2I704wyot8N/f8AJCERFQCwkowXR/6kp/g31KlSwci0fVQRt22ueJ0q/XVIije8/paT47FesOpY+Ok/ZbZVcmbuubXx0iF4orOsqHAamDMHHWfNaheveSSTrJJPErxUq6122Sm/dlmqgq4KK9j1riNRIPdoXRsk05jhjaSS7NBcTpNzpKhGQaPraiNuwHOdwbp9V0JWDolL1K1/RER1SzzGC+oREVjIYxMqzZkErt0bvRaXDUhc0XWfimXNpZO/NbzcPssbDcVmBAb9ERAEREAVlnbd3NaPMlXlZg1vP1W5AD2KAvIiIDgnSdW9ZlOfcwMiA4NufMqKrZYkqetrKp++eTkHWHotaupcFgrWoJfILJydQOnmihZ2nvawd1za/hrWMpj0UUuflJhtcMikf42DQfNG9IWS7YuR2bImR2UkEcEYs1rbd7nbXHvJWciLlIBvb2wuHdK2RW09dnsFmzM6wgag8GzuetdxXHOmetDquCMEExwuLu4vdoB8B5rOvk6sNv1PBz1ERdBMmTk51poSNYmjI454X0Xl4XpZf4L58w7SmWrpmDSTMzkDc+QX0BiWTNpZNlwGjxIXDnNKmW/g/wDRw3+bq0vj/ZAVn5Co+tqI27Ac93ALAWyyLlcUznOzM8kAXvawVBxuz1Y+o/G/JM3d3pvs5OgKOYyrLRsjGtxueDf917FjSM9pj28io/lzKInmLxfNsGtvuCsnUOoVSx3GqW2/H7ELiYlkbk5rSRr0RehtyANZNhxKqhPEswZR2a+U7TmDgNfqpKsbJtJ1UUbNzRfjtWSr9h0+jTGHy8/UqeTb6trkERF1Ggj2MpPyom/NKPIFZmQo7MHBavFr7y07Nwc7mQPZbzJbLMHBAZqIiAIiIAVZpezfeSebiq5XWaTuBPkkLbNaNzQPJAVqxXTZkUj/AJWOdyaSr60eNqrqsn1btX5LgOLtA9V6jKK20j54e/OJdvJdzN/dUoEXUWELpHQpS3nqpPljYwcXOJPoFzddf6FaW1NUSfNMG+DWD7rCfBz5T1UzoyLWYixBHQwOmlOgaGtHae86mtXFMRdIVVWFw6wwwnVDGc3R9TtblpjFsjKceVvlcHUcWdIsFE1zWObNUW+GJpuGnfI4auGtcPyhXvnlfLI7Oke4uce87B3BY6LfGKRK00RqXjkIirihc9zWtBc5xDWtGkknQAFkbia9EeRjNW9cR8ELC6+zrHfCByuV0jGlXZkce0nOPBur1VeC8ODJ1G1jrdYfzJ3fWRpF9wAso5lev6+Zz/06mj6RqVf6zkqFPYuZeP29zlx16+R3+0TCRZWTsnPncWstcC5voFlly4Ynb+jO4EFVOGPbOPdGLaJaV1cX2ykkzVIrtRSujNntLTa9ju3q0tLTT0zYmmtoL0FeIvD0zIsrzN1Sv53UiwxlOaZ7s92cxrdwuSdQuoip1haj6unaTrec88NgUz0p22Xpdz0vL8sjM9Vwqb0ts3CIit5XiI5bdnVoHysaOdz7qT0bbNCil8+tmO5+b/aAPZS6AfCEBcREQBERAWavskb7DmQPdXlZn1sH1jyufZXkAUM6WqnMya8fPJGzwzrn0UzXNemuqtBSx/NK5/g1v/JZR5N+Ot2ROSIiLpJ09XdeiqlzMmQn53SSc3aPRcJK+jcH0vVUFIzdAy/Ei59Vqs4OHNf/AIS+ZzTplykXVUMFzmMiD7b3vJ08hZc9U96Y6Mtro5LaHwAA97HEEeY5qBLOPBvx9elHQREWRvK4oi9wa0FzibNaBdxJ2ALsfR50efhLVFQAagj4GaxCD/5ei2mBcMUkEEU8DesdIwO699nP0jSBsbp3JiDEjruiju2xzXvOh3eG7uKj8zNhjw7pfk4HOeRL06/C92eYoy7nXhjOj9xw2/SFGURUTJyJ5FjnL8EzTTGmHbEmGDaPNjdIdbjYfxH+6kSiOT8WNiYxhiNmgC4PmsqpxfG6N4aHh5aQ240XPerPiZmLTQoKS8L7kHkY19lrk48s0GXKzrZ5HbAc1vALARFU7Juybm+WT8IqEVFexUxhcQBrJAHEqajCUJaLhwdYXIOs20laDC1H1lQCdTBn+OxTpWHpGHCdcp2RT3xv5ER1DIlCajB61yRyTBTNkjx3GxUhjYGgAagABwCqRTlONVS26462Rdl9lulN70EJRY+UJc2KR25jj/iV0GkieQvjle/e9x5uKmTBoCieFYtAKlwQBERAEREBZfpezuDj6D3V5WW6ZD3NA5kn2CvIAuP9NNVeppo/lhc48XO+wXYFwjpUqs/Kco+RkbP8bn1WdfJ2Ya3YRFERdBMFcMWc5jfmc1vNwHuvp2lizGMbua1vIAL50wpS9bXUjN87CeAOcfRfSC02EZnPzFES6S8N/jKNxYLzQ3lj3kAfGzxHouDr6lXBOkXDf4Ksdmi0Mt5YtwJPxM8D6pW/Y9wrf0P9iKoiLcSR1DoexLYvonnQbyQX3/rYPXmpTjDJliJmjQbNfx2O9lw6grXQSxyxmz2OD2nvB1cNi+iMl5QjyhRskGlkjPiHyu1ObxBUbn4qyKnD+PqcM28e5Wrh8kCRXqulMT3MdrabcdxWZTYfmkYJGNBadXxAHkVQ402Sk4xi21yialZCKUm1pmtRZsuRZ264n8QM4eSwljOuUPEk19fB7GcZf4vYREWBmXIahzNLXObwNlmR4gnb+448bFa9ZWTKTrZo2bC4X/iNa31TtUlGuTW/marIw03NInuSnvdCx0ml5Fzotr1eSy141tgB4L1X6Ee2KTe9FSk9tsLV4llzaWXvAb/c4BbRaHGMloGN+aVvkCVmYlvDMVmhSJajIMdmDgtugCIiAIiFAWYNbz9QHJo+5V5WaXs33ucf8iryAL5xxdVdbX1b987wODfh9l9GP1G2uxtxXz/lLBNcHyPdTSnOe5xLbP1uJ2LZWd+E0m22RxFlT5Lmj7cMrOLHD2WKdGvR5LeSieyWdF1Ln5Th+hsknJth6rvK470L02dV1Enywhvi5/8AxXYlos5IjMe7NfIKNdIGG/xtG9rR+cz82E7c4DS3xGjkpKiwT0csZOLTR8t28N479y8Uy6UMNfhasyMFoZrvG5sn62+/ioaulPa2T8JqcVJBdF6H8RmOZ9I8/BJd8W4SAaR4j0XOls8MzmOtpXDWKiPxu4C3mvJLaMbYKcGmdsxdkzOMT2j4i4RHvv2T6qQ0sAjY1g1NaByCqkiDrXF7EOHEaiq1GV40a7Z2r9WiHnc51xg/bZrcQVnVU7zqJGY3i5c/UjxnWXeyMamjOdxOryUcVX6td6mQ4riPj/pO9Pq7Kd/ELb4cySKiR2eCWNbpsbaTq0rUKc4Uo8yAOOt5z/DYtXTcdX3pSXheWZ5tzqqbXL4LMmDIjqdIO64Psr+ScONp5C8OLjm5ouLWvrW4RWuODjxkpxgk0QMsq6UXFy8BERdhzBRjGD7vp2d7nHyA91J1EsQOzqxjfljHmSUBvsksswcFnrGoW2aFkoAiIgCpkdYE911UrNYfgdwKA9phZjf4i/G2lXVZjqmHQHtPdcXV5AEREBS5gOsA8dKwqnINPJ24IXcWNvzss9EPU2uDX5Lw/BSl5giZEX2z80WvbUtgiIG2/LCIiHhosaYcFfSSRaBIPjicdkg1eB1eK+faukfC90cjXRyNNnMcLEH7L6fWtythynqv9eGOQ7HEWcP6hpWcZ6OvHyfS8Pg+bFOei/Cb6ipZUvaRTxHODiLZ8g7IbvA13XRqbo3oI3Zwp2uN7gOLnjkTZSSOINAa0BrRoDQLADcAFlKz4G63MUo6iipeOdYEnUBcr1Y+UKd0kT2NIaXC2drtvWibai2ltnBFJtJnPcoVXWyvfvcbcNnksdb6XB0w1Ojd4kLElw5UN/bJ4EFUW3EyduUoP+C0wyKdJRkjCpKcySMYNbnAffyXSoow1oaNQAA4BRTCuSXNmc+Rjm5rfhuLfEd3gparD0bHddbnJeW/siI6lcpzUVwv7CIimyLCIiAKHTnPrpTucG8mgKYqF5IOfPK7fI4/5FAS+nFmhXVTGNAVSAIiIArVQ27SrqICCZayO5ziRdattJUR9mSVvBzvuulPpwditOye07EBAY8tVjP3XH+QDvULJjxrVN7TIn/0lp8ipc/IzTsCxZMPNOwIDTRdIJHbg/td9ws2HH8B7TZWeAcPIr2XC7TsWHLhMbkBuYcXUrv3Q3ucHN9Qs+HKkT+zLE7g5v3UKlwodyw5cMOGxAdKDr6tK9XLxkyaPsukbwcQrzMo1keqaQ8fi9UB0pFz6PF9WzX1b+LbelllRdIEg7cDT/FxHkQgJuiisPSDEe3HK3hZ3uFnQ40pXfuFv8muHsgN4iwYMtwP7M0R/qAPIrMZIDqIPA3QFSIiAIiIAiIgCIiAtVUubG925jjyBKimFo9q3+IZc2lmP0W5m3utXhiKzQgJIF6iIAiIgCIiAIiIAiIgC8svUQFJjG5UGnB2K6iAxnUDTsVl+SWnYFnogNPJkBp2BYkuGWnYpGiAiEuFBuWFLhPuU8sqSwIDnMuFnDYsc5EkZ2S9vAkei6YYBuVt1E07EBztlRVx9maXgSSORWRHiisZrc1/8mj1FlN35LadgWPJkJp2BARqLHsw7cMbuBc37rNi6QmfrhkbwId9lmy4aadiw5cKjcgMyHHFM7W57P5NPtdZ0OIqd+qeLxOb6qMy4TWFLhU7kB0GOoa7sua7gQfRXFzB2Hnt1XHDQvWNqY+zLMP6j7oCZYwktT2+aRg87+yqw/HZg4KJNqKibNbK8vaHXFwL31awFN8kxZrBwQGwREQBERAEREAREQBERAEREAREQBERAEREAREQBERAEREAREQHhaFSYRuVaICw6kaditPya07FmIgMBuSmg6gsyNlgq0QBERAEREB//9k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669224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 smtClean="0"/>
              <a:t>Code Dojo</a:t>
            </a:r>
            <a:br>
              <a:rPr lang="en-US" sz="3600" dirty="0" smtClean="0"/>
            </a:br>
            <a:r>
              <a:rPr lang="en-US" sz="2400" dirty="0" smtClean="0"/>
              <a:t>Some Principles</a:t>
            </a:r>
            <a:endParaRPr lang="en-US" sz="2400" dirty="0"/>
          </a:p>
        </p:txBody>
      </p:sp>
      <p:sp>
        <p:nvSpPr>
          <p:cNvPr id="4" name="Espace réservé du contenu 3"/>
          <p:cNvSpPr>
            <a:spLocks noGrp="1"/>
          </p:cNvSpPr>
          <p:nvPr>
            <p:ph idx="1"/>
          </p:nvPr>
        </p:nvSpPr>
        <p:spPr>
          <a:xfrm>
            <a:off x="179512" y="2564903"/>
            <a:ext cx="8751924" cy="3888433"/>
          </a:xfrm>
        </p:spPr>
        <p:txBody>
          <a:bodyPr/>
          <a:lstStyle/>
          <a:p>
            <a:pPr>
              <a:buFont typeface="Wingdings" pitchFamily="2" charset="2"/>
              <a:buChar char="v"/>
            </a:pPr>
            <a:r>
              <a:rPr lang="en-US" sz="2800" dirty="0" smtClean="0"/>
              <a:t>Communicate</a:t>
            </a:r>
          </a:p>
          <a:p>
            <a:pPr lvl="1">
              <a:buFont typeface="Wingdings" pitchFamily="2" charset="2"/>
              <a:buChar char="v"/>
            </a:pPr>
            <a:r>
              <a:rPr lang="en-US" sz="1800" dirty="0" smtClean="0">
                <a:solidFill>
                  <a:schemeClr val="bg1">
                    <a:lumMod val="50000"/>
                  </a:schemeClr>
                </a:solidFill>
              </a:rPr>
              <a:t>with your partner, be a pair, with the group</a:t>
            </a:r>
          </a:p>
          <a:p>
            <a:pPr>
              <a:buFont typeface="Wingdings" pitchFamily="2" charset="2"/>
              <a:buChar char="v"/>
            </a:pPr>
            <a:r>
              <a:rPr lang="en-US" sz="2800" dirty="0" smtClean="0"/>
              <a:t>Code is design</a:t>
            </a:r>
          </a:p>
          <a:p>
            <a:pPr lvl="1">
              <a:buFont typeface="Wingdings" pitchFamily="2" charset="2"/>
              <a:buChar char="v"/>
            </a:pPr>
            <a:r>
              <a:rPr lang="en-US" sz="1800" dirty="0" smtClean="0">
                <a:solidFill>
                  <a:schemeClr val="bg1">
                    <a:lumMod val="50000"/>
                  </a:schemeClr>
                </a:solidFill>
              </a:rPr>
              <a:t>No design talk without code, no code without talking</a:t>
            </a:r>
          </a:p>
          <a:p>
            <a:pPr>
              <a:buFont typeface="Wingdings" pitchFamily="2" charset="2"/>
              <a:buChar char="v"/>
            </a:pPr>
            <a:r>
              <a:rPr lang="en-US" sz="2800" dirty="0" smtClean="0"/>
              <a:t>Slow down</a:t>
            </a:r>
          </a:p>
          <a:p>
            <a:pPr lvl="1">
              <a:buFont typeface="Wingdings" pitchFamily="2" charset="2"/>
              <a:buChar char="v"/>
            </a:pPr>
            <a:r>
              <a:rPr lang="en-US" sz="1800" dirty="0" smtClean="0">
                <a:solidFill>
                  <a:schemeClr val="bg1">
                    <a:lumMod val="50000"/>
                  </a:schemeClr>
                </a:solidFill>
              </a:rPr>
              <a:t>No due date, no delivery, no tricks</a:t>
            </a:r>
            <a:endParaRPr lang="en-US" sz="2800" dirty="0" smtClean="0">
              <a:solidFill>
                <a:schemeClr val="bg1">
                  <a:lumMod val="50000"/>
                </a:schemeClr>
              </a:solidFill>
            </a:endParaRPr>
          </a:p>
          <a:p>
            <a:pPr>
              <a:buFont typeface="Wingdings" pitchFamily="2" charset="2"/>
              <a:buChar char="v"/>
            </a:pPr>
            <a:r>
              <a:rPr lang="en-US" sz="2800" dirty="0" smtClean="0"/>
              <a:t>Learning</a:t>
            </a:r>
          </a:p>
          <a:p>
            <a:pPr lvl="1">
              <a:buFont typeface="Wingdings" pitchFamily="2" charset="2"/>
              <a:buChar char="v"/>
            </a:pPr>
            <a:r>
              <a:rPr lang="en-US" sz="1800" dirty="0" smtClean="0">
                <a:solidFill>
                  <a:schemeClr val="bg1">
                    <a:lumMod val="50000"/>
                  </a:schemeClr>
                </a:solidFill>
              </a:rPr>
              <a:t>Open-minded, from others</a:t>
            </a:r>
          </a:p>
          <a:p>
            <a:pPr>
              <a:buFont typeface="Wingdings" pitchFamily="2" charset="2"/>
              <a:buChar char="v"/>
            </a:pPr>
            <a:r>
              <a:rPr lang="en-US" sz="2800" dirty="0" smtClean="0"/>
              <a:t>Challenge yourself</a:t>
            </a:r>
          </a:p>
          <a:p>
            <a:pPr lvl="1">
              <a:buFont typeface="Wingdings" pitchFamily="2" charset="2"/>
              <a:buChar char="v"/>
            </a:pPr>
            <a:r>
              <a:rPr lang="en-US" sz="1800" dirty="0" smtClean="0">
                <a:solidFill>
                  <a:schemeClr val="bg1">
                    <a:lumMod val="50000"/>
                  </a:schemeClr>
                </a:solidFill>
              </a:rPr>
              <a:t>don’t be reluctant to try something new</a:t>
            </a:r>
          </a:p>
          <a:p>
            <a:pPr>
              <a:buFont typeface="Wingdings" pitchFamily="2" charset="2"/>
              <a:buChar char="v"/>
            </a:pPr>
            <a:endParaRPr lang="en-US" sz="2800" dirty="0" smtClean="0"/>
          </a:p>
          <a:p>
            <a:pPr>
              <a:buFont typeface="Wingdings" pitchFamily="2" charset="2"/>
              <a:buChar char="v"/>
            </a:pPr>
            <a:endParaRPr lang="en-US" sz="2800" dirty="0" smtClean="0"/>
          </a:p>
          <a:p>
            <a:pPr>
              <a:buFont typeface="Wingdings" pitchFamily="2" charset="2"/>
              <a:buChar char="v"/>
            </a:pPr>
            <a:endParaRPr lang="en-US" sz="2800" dirty="0" smtClean="0"/>
          </a:p>
          <a:p>
            <a:pPr>
              <a:buFont typeface="Wingdings" pitchFamily="2" charset="2"/>
              <a:buChar char="v"/>
            </a:pPr>
            <a:endParaRPr lang="en-US" sz="2800" dirty="0" smtClean="0"/>
          </a:p>
          <a:p>
            <a:pPr>
              <a:buFont typeface="Wingdings" pitchFamily="2" charset="2"/>
              <a:buChar char="v"/>
            </a:pPr>
            <a:endParaRPr lang="en-US" sz="2800" dirty="0" smtClean="0"/>
          </a:p>
        </p:txBody>
      </p:sp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1910320"/>
            <a:ext cx="1623132" cy="46150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75217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395536" y="2132856"/>
            <a:ext cx="8229600" cy="4392488"/>
          </a:xfrm>
        </p:spPr>
        <p:txBody>
          <a:bodyPr/>
          <a:lstStyle/>
          <a:p>
            <a:r>
              <a:rPr lang="en-US" sz="2400" dirty="0" err="1" smtClean="0"/>
              <a:t>JetBrains</a:t>
            </a:r>
            <a:r>
              <a:rPr lang="en-US" sz="2400" dirty="0" smtClean="0"/>
              <a:t> </a:t>
            </a:r>
            <a:r>
              <a:rPr lang="en-US" sz="2400" dirty="0" err="1" smtClean="0"/>
              <a:t>Resharper</a:t>
            </a:r>
            <a:r>
              <a:rPr lang="en-US" sz="2400" dirty="0" smtClean="0"/>
              <a:t> (R#)</a:t>
            </a:r>
          </a:p>
          <a:p>
            <a:pPr lvl="1"/>
            <a:r>
              <a:rPr lang="en-US" sz="2000" dirty="0" smtClean="0"/>
              <a:t>Productivity tool</a:t>
            </a:r>
          </a:p>
          <a:p>
            <a:pPr lvl="1"/>
            <a:r>
              <a:rPr lang="en-US" sz="2000" dirty="0" smtClean="0"/>
              <a:t>Third hand of the developer</a:t>
            </a:r>
          </a:p>
          <a:p>
            <a:pPr lvl="1"/>
            <a:r>
              <a:rPr lang="en-US" sz="2000" dirty="0" smtClean="0"/>
              <a:t>Must have for safe refactoring</a:t>
            </a:r>
          </a:p>
          <a:p>
            <a:endParaRPr lang="en-US" sz="2000" dirty="0" smtClean="0"/>
          </a:p>
          <a:p>
            <a:r>
              <a:rPr lang="en-US" sz="2400" dirty="0" err="1" smtClean="0"/>
              <a:t>Ncrunch</a:t>
            </a:r>
            <a:endParaRPr lang="en-US" sz="2400" dirty="0" smtClean="0"/>
          </a:p>
          <a:p>
            <a:pPr lvl="1"/>
            <a:r>
              <a:rPr lang="en-US" sz="2000" dirty="0" smtClean="0"/>
              <a:t>Continuous testing tool</a:t>
            </a:r>
          </a:p>
          <a:p>
            <a:pPr lvl="1"/>
            <a:r>
              <a:rPr lang="en-US" sz="2000" dirty="0" smtClean="0"/>
              <a:t>Increase speed and feedback of unit testing</a:t>
            </a:r>
          </a:p>
          <a:p>
            <a:pPr lvl="1"/>
            <a:r>
              <a:rPr lang="en-US" sz="2000" dirty="0" smtClean="0"/>
              <a:t>TDD without knowing</a:t>
            </a:r>
          </a:p>
          <a:p>
            <a:endParaRPr lang="en-US" sz="2200" dirty="0" smtClean="0"/>
          </a:p>
          <a:p>
            <a:r>
              <a:rPr lang="en-US" sz="2200" dirty="0" err="1" smtClean="0"/>
              <a:t>nFluent</a:t>
            </a:r>
            <a:endParaRPr lang="en-US" sz="2200" dirty="0" smtClean="0"/>
          </a:p>
          <a:p>
            <a:pPr lvl="1"/>
            <a:r>
              <a:rPr lang="en-US" sz="2000" dirty="0" smtClean="0"/>
              <a:t>Better assertions</a:t>
            </a:r>
          </a:p>
          <a:p>
            <a:pPr lvl="1"/>
            <a:r>
              <a:rPr lang="en-US" sz="2000" dirty="0" smtClean="0"/>
              <a:t>Gorgeous error messages</a:t>
            </a:r>
            <a:endParaRPr lang="en-US" sz="2000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FC98-F726-4387-BD61-63831D042500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460375" y="1161913"/>
            <a:ext cx="8229600" cy="782960"/>
          </a:xfrm>
        </p:spPr>
        <p:txBody>
          <a:bodyPr/>
          <a:lstStyle/>
          <a:p>
            <a:r>
              <a:rPr lang="fr-FR" sz="3600" dirty="0" err="1" smtClean="0"/>
              <a:t>Some</a:t>
            </a:r>
            <a:r>
              <a:rPr lang="fr-FR" sz="3600" dirty="0" smtClean="0"/>
              <a:t> </a:t>
            </a:r>
            <a:r>
              <a:rPr lang="fr-FR" sz="3600" dirty="0" err="1" smtClean="0"/>
              <a:t>tools</a:t>
            </a:r>
            <a:r>
              <a:rPr lang="fr-FR" sz="3600" dirty="0" smtClean="0"/>
              <a:t/>
            </a:r>
            <a:br>
              <a:rPr lang="fr-FR" sz="3600" dirty="0" smtClean="0"/>
            </a:br>
            <a:r>
              <a:rPr lang="fr-FR" sz="1800" dirty="0"/>
              <a:t>(</a:t>
            </a:r>
            <a:r>
              <a:rPr lang="fr-FR" sz="1800" dirty="0" err="1"/>
              <a:t>optionals</a:t>
            </a:r>
            <a:r>
              <a:rPr lang="fr-FR" sz="1800" dirty="0"/>
              <a:t>)</a:t>
            </a:r>
            <a:br>
              <a:rPr lang="fr-FR" sz="1800" dirty="0"/>
            </a:br>
            <a:endParaRPr lang="fr-FR" sz="1800" dirty="0"/>
          </a:p>
        </p:txBody>
      </p:sp>
      <p:sp>
        <p:nvSpPr>
          <p:cNvPr id="5" name="AutoShape 2" descr="data:image/jpeg;base64,/9j/4AAQSkZJRgABAQAAAQABAAD/2wCEAAkGBhQQEBASEhIPEBAWEBIQEA8UFRQPEBIQFBAVFBQQEhIXGyYeFxkjGRIUHy8gIycpLCwsFR4xNTAqNSYrLCkBCQoKDgwOGg8PGiklHyQtKTQpLDA1KiksLC0sLCw1NSwqLCwvLDQsLC0pLCotLCwsKSwsLCwsLCwsLCksLCwpKf/AABEIAMsA+AMBIgACEQEDEQH/xAAcAAEAAQUBAQAAAAAAAAAAAAAABgIDBAUHAQj/xAA+EAABAwIBCAgEBQMDBQAAAAABAAIDBBEGBRIhMUFRcZEHEzJhgaGxwSJSYtEUI0JDcoKSojPh4hVTwvDx/8QAGgEBAAIDAQAAAAAAAAAAAAAAAAUGAgMEAf/EACwRAAICAgEDAgUEAwEAAAAAAAABAgMEETEFEiETQVFhcaHxQoGRwTKx0SL/2gAMAwEAAhEDEQA/AO4oiIAiIgCK26oaDYkA/wDu1etlB1EHgQUBWiIgCIiAIiIAiIgCIiAIiIAiIgCIiAIiIAiIgCIiAIiIAiIgCIiAIi8KAt05vnHe8+QA9lW6IHWAeIBVukHwDvu7+4k+6vIC1+GbutwJb6J1O5zx439QVdRAWsx3zA8R9il3bmnxI8rK6iAtdadrHeFj7p+IG3OHFp9bK6qTIN45oCkTtP6m81cXhAO4+at/hm7gOHw+iAuorXUbi4eJPqnVu2O5gH0sgLqK18f0Hm37p1jtrT4EH1sgLqK11+8OHgT6L0VDfmHjo9UBcReB19WleoAiIgCIiAIiIAiIgCIiAIiIArdQ6zXHuPoris1XZtvIHNwCAuRtsANwA8lUiIAiKN40xnHk6K+h87geqivr+p25oXqWzKMXJ6RtMtZfho4+snkbG3YNbnHc1uslcyy70ySvJbSxtib/AN2T4nnvDdQ81BMr5Zlq5TLO8vedXytHytGwLCW5QS5JWrEjHzLyzbV2LKuc/mVM57g4sbybZa41b/nk/ud91aRZnWopcIzaXLc8RvHPOw9z3W5XspNknpXrIbB5ZUM2h4s+3c8KGIjSZjKuEuUd3w10l01YQwkwTH9t/ZJ3MfqKly+Wl0bAHSU6JzKarcXRGzY5jpdGdgedre/YtUofAj7sTS7ofwdfReNdcXGkawVRUzBjHOOoNJ5BaW0ltnAlt6Li8IXPP+uTZxIkeLkm17gX2WWVFiqdv6mu4tHsoSPW6Hymv4JN9Mt9mibGnaf0t5aea8/DjYXD+oqPZIxPJNKyMsZp1uFxYDbZSZSmPk15Ee6vg4bqZ0vtmWuqOx58QD7JZ+9p8CPcqzXZUjhzesdm31aCdSpiy1C7VKznb1WburUu1yW/hsxVU2u5J6MjPd8oPA/eyddva8eF/RVMna7U5p4EFVrYmnwYa0WvxLd9uN2+qra8HUQeGlVKh0LTra0+AXp4VorLoAATpFgTocQOV7Kikqg5o03NhfjZAZKIiAIiIArM+tg+q/JpKvKy7TI3ua4+YH3QF5ERAYmVcpMpoZJpDZjGlx3m2oDvK+dcu5akrJ3zyH4nHQ3Yxn6WDuC6P0z5aIZBStPaPWyD6WmzRzvyXKFvrXjZLYdWo979wiIth3BFvcL4Onyg8iIBsYNnzO7De4bz3LoNP0KwBvx1E7nbS0NYL9w0rFySNFl8IPTZyFF0HEfRFLAx0lM8ztAuYyLS2Hy20O4Ln5H/AMXqafBnCyM1uLPERF6bDsvRLigzwuppHXkhALCdJdCTYcjo5KR4vrMyAMGt7reA0lcYwDlM0+UaZ17Nc/qn/wAXi3rZdpxdT51PnbWuB8DoKi+pKSx59vw/P2I704wyot8N/f8AJCERFQCwkowXR/6kp/g31KlSwci0fVQRt22ueJ0q/XVIije8/paT47FesOpY+Ok/ZbZVcmbuubXx0iF4orOsqHAamDMHHWfNaheveSSTrJJPErxUq6122Sm/dlmqgq4KK9j1riNRIPdoXRsk05jhjaSS7NBcTpNzpKhGQaPraiNuwHOdwbp9V0JWDolL1K1/RER1SzzGC+oREVjIYxMqzZkErt0bvRaXDUhc0XWfimXNpZO/NbzcPssbDcVmBAb9ERAEREAVlnbd3NaPMlXlZg1vP1W5AD2KAvIiIDgnSdW9ZlOfcwMiA4NufMqKrZYkqetrKp++eTkHWHotaupcFgrWoJfILJydQOnmihZ2nvawd1za/hrWMpj0UUuflJhtcMikf42DQfNG9IWS7YuR2bImR2UkEcEYs1rbd7nbXHvJWciLlIBvb2wuHdK2RW09dnsFmzM6wgag8GzuetdxXHOmetDquCMEExwuLu4vdoB8B5rOvk6sNv1PBz1ERdBMmTk51poSNYmjI454X0Xl4XpZf4L58w7SmWrpmDSTMzkDc+QX0BiWTNpZNlwGjxIXDnNKmW/g/wDRw3+bq0vj/ZAVn5Co+tqI27Ac93ALAWyyLlcUznOzM8kAXvawVBxuz1Y+o/G/JM3d3pvs5OgKOYyrLRsjGtxueDf917FjSM9pj28io/lzKInmLxfNsGtvuCsnUOoVSx3GqW2/H7ELiYlkbk5rSRr0RehtyANZNhxKqhPEswZR2a+U7TmDgNfqpKsbJtJ1UUbNzRfjtWSr9h0+jTGHy8/UqeTb6trkERF1Ggj2MpPyom/NKPIFZmQo7MHBavFr7y07Nwc7mQPZbzJbLMHBAZqIiAIiIAVZpezfeSebiq5XWaTuBPkkLbNaNzQPJAVqxXTZkUj/AJWOdyaSr60eNqrqsn1btX5LgOLtA9V6jKK20j54e/OJdvJdzN/dUoEXUWELpHQpS3nqpPljYwcXOJPoFzddf6FaW1NUSfNMG+DWD7rCfBz5T1UzoyLWYixBHQwOmlOgaGtHae86mtXFMRdIVVWFw6wwwnVDGc3R9TtblpjFsjKceVvlcHUcWdIsFE1zWObNUW+GJpuGnfI4auGtcPyhXvnlfLI7Oke4uce87B3BY6LfGKRK00RqXjkIirihc9zWtBc5xDWtGkknQAFkbia9EeRjNW9cR8ELC6+zrHfCByuV0jGlXZkce0nOPBur1VeC8ODJ1G1jrdYfzJ3fWRpF9wAso5lev6+Zz/06mj6RqVf6zkqFPYuZeP29zlx16+R3+0TCRZWTsnPncWstcC5voFlly4Ynb+jO4EFVOGPbOPdGLaJaV1cX2ykkzVIrtRSujNntLTa9ju3q0tLTT0zYmmtoL0FeIvD0zIsrzN1Sv53UiwxlOaZ7s92cxrdwuSdQuoip1haj6unaTrec88NgUz0p22Xpdz0vL8sjM9Vwqb0ts3CIit5XiI5bdnVoHysaOdz7qT0bbNCil8+tmO5+b/aAPZS6AfCEBcREQBERAWavskb7DmQPdXlZn1sH1jyufZXkAUM6WqnMya8fPJGzwzrn0UzXNemuqtBSx/NK5/g1v/JZR5N+Ot2ROSIiLpJ09XdeiqlzMmQn53SSc3aPRcJK+jcH0vVUFIzdAy/Ei59Vqs4OHNf/AIS+ZzTplykXVUMFzmMiD7b3vJ08hZc9U96Y6Mtro5LaHwAA97HEEeY5qBLOPBvx9elHQREWRvK4oi9wa0FzibNaBdxJ2ALsfR50efhLVFQAagj4GaxCD/5ei2mBcMUkEEU8DesdIwO699nP0jSBsbp3JiDEjruiju2xzXvOh3eG7uKj8zNhjw7pfk4HOeRL06/C92eYoy7nXhjOj9xw2/SFGURUTJyJ5FjnL8EzTTGmHbEmGDaPNjdIdbjYfxH+6kSiOT8WNiYxhiNmgC4PmsqpxfG6N4aHh5aQ240XPerPiZmLTQoKS8L7kHkY19lrk48s0GXKzrZ5HbAc1vALARFU7Juybm+WT8IqEVFexUxhcQBrJAHEqajCUJaLhwdYXIOs20laDC1H1lQCdTBn+OxTpWHpGHCdcp2RT3xv5ER1DIlCajB61yRyTBTNkjx3GxUhjYGgAagABwCqRTlONVS26462Rdl9lulN70EJRY+UJc2KR25jj/iV0GkieQvjle/e9x5uKmTBoCieFYtAKlwQBERAEREBZfpezuDj6D3V5WW6ZD3NA5kn2CvIAuP9NNVeppo/lhc48XO+wXYFwjpUqs/Kco+RkbP8bn1WdfJ2Ya3YRFERdBMFcMWc5jfmc1vNwHuvp2lizGMbua1vIAL50wpS9bXUjN87CeAOcfRfSC02EZnPzFES6S8N/jKNxYLzQ3lj3kAfGzxHouDr6lXBOkXDf4Ksdmi0Mt5YtwJPxM8D6pW/Y9wrf0P9iKoiLcSR1DoexLYvonnQbyQX3/rYPXmpTjDJliJmjQbNfx2O9lw6grXQSxyxmz2OD2nvB1cNi+iMl5QjyhRskGlkjPiHyu1ObxBUbn4qyKnD+PqcM28e5Wrh8kCRXqulMT3MdrabcdxWZTYfmkYJGNBadXxAHkVQ402Sk4xi21yialZCKUm1pmtRZsuRZ264n8QM4eSwljOuUPEk19fB7GcZf4vYREWBmXIahzNLXObwNlmR4gnb+448bFa9ZWTKTrZo2bC4X/iNa31TtUlGuTW/marIw03NInuSnvdCx0ml5Fzotr1eSy141tgB4L1X6Ee2KTe9FSk9tsLV4llzaWXvAb/c4BbRaHGMloGN+aVvkCVmYlvDMVmhSJajIMdmDgtugCIiAIiFAWYNbz9QHJo+5V5WaXs33ucf8iryAL5xxdVdbX1b987wODfh9l9GP1G2uxtxXz/lLBNcHyPdTSnOe5xLbP1uJ2LZWd+E0m22RxFlT5Lmj7cMrOLHD2WKdGvR5LeSieyWdF1Ln5Th+hsknJth6rvK470L02dV1Enywhvi5/8AxXYlos5IjMe7NfIKNdIGG/xtG9rR+cz82E7c4DS3xGjkpKiwT0csZOLTR8t28N479y8Uy6UMNfhasyMFoZrvG5sn62+/ioaulPa2T8JqcVJBdF6H8RmOZ9I8/BJd8W4SAaR4j0XOls8MzmOtpXDWKiPxu4C3mvJLaMbYKcGmdsxdkzOMT2j4i4RHvv2T6qQ0sAjY1g1NaByCqkiDrXF7EOHEaiq1GV40a7Z2r9WiHnc51xg/bZrcQVnVU7zqJGY3i5c/UjxnWXeyMamjOdxOryUcVX6td6mQ4riPj/pO9Pq7Kd/ELb4cySKiR2eCWNbpsbaTq0rUKc4Uo8yAOOt5z/DYtXTcdX3pSXheWZ5tzqqbXL4LMmDIjqdIO64Psr+ScONp5C8OLjm5ouLWvrW4RWuODjxkpxgk0QMsq6UXFy8BERdhzBRjGD7vp2d7nHyA91J1EsQOzqxjfljHmSUBvsksswcFnrGoW2aFkoAiIgCpkdYE911UrNYfgdwKA9phZjf4i/G2lXVZjqmHQHtPdcXV5AEREBS5gOsA8dKwqnINPJ24IXcWNvzss9EPU2uDX5Lw/BSl5giZEX2z80WvbUtgiIG2/LCIiHhosaYcFfSSRaBIPjicdkg1eB1eK+faukfC90cjXRyNNnMcLEH7L6fWtythynqv9eGOQ7HEWcP6hpWcZ6OvHyfS8Pg+bFOei/Cb6ipZUvaRTxHODiLZ8g7IbvA13XRqbo3oI3Zwp2uN7gOLnjkTZSSOINAa0BrRoDQLADcAFlKz4G63MUo6iipeOdYEnUBcr1Y+UKd0kT2NIaXC2drtvWibai2ltnBFJtJnPcoVXWyvfvcbcNnksdb6XB0w1Ojd4kLElw5UN/bJ4EFUW3EyduUoP+C0wyKdJRkjCpKcySMYNbnAffyXSoow1oaNQAA4BRTCuSXNmc+Rjm5rfhuLfEd3gparD0bHddbnJeW/siI6lcpzUVwv7CIimyLCIiAKHTnPrpTucG8mgKYqF5IOfPK7fI4/5FAS+nFmhXVTGNAVSAIiIArVQ27SrqICCZayO5ziRdattJUR9mSVvBzvuulPpwditOye07EBAY8tVjP3XH+QDvULJjxrVN7TIn/0lp8ipc/IzTsCxZMPNOwIDTRdIJHbg/td9ws2HH8B7TZWeAcPIr2XC7TsWHLhMbkBuYcXUrv3Q3ucHN9Qs+HKkT+zLE7g5v3UKlwodyw5cMOGxAdKDr6tK9XLxkyaPsukbwcQrzMo1keqaQ8fi9UB0pFz6PF9WzX1b+LbelllRdIEg7cDT/FxHkQgJuiisPSDEe3HK3hZ3uFnQ40pXfuFv8muHsgN4iwYMtwP7M0R/qAPIrMZIDqIPA3QFSIiAIiIAiIgCIiAtVUubG925jjyBKimFo9q3+IZc2lmP0W5m3utXhiKzQgJIF6iIAiIgCIiAIiIAiIgC8svUQFJjG5UGnB2K6iAxnUDTsVl+SWnYFnogNPJkBp2BYkuGWnYpGiAiEuFBuWFLhPuU8sqSwIDnMuFnDYsc5EkZ2S9vAkei6YYBuVt1E07EBztlRVx9maXgSSORWRHiisZrc1/8mj1FlN35LadgWPJkJp2BARqLHsw7cMbuBc37rNi6QmfrhkbwId9lmy4aadiw5cKjcgMyHHFM7W57P5NPtdZ0OIqd+qeLxOb6qMy4TWFLhU7kB0GOoa7sua7gQfRXFzB2Hnt1XHDQvWNqY+zLMP6j7oCZYwktT2+aRg87+yqw/HZg4KJNqKibNbK8vaHXFwL31awFN8kxZrBwQGwREQBERAEREAREQBERAEREAREQBERAEREAREQBERAEREAREQHhaFSYRuVaICw6kaditPya07FmIgMBuSmg6gsyNlgq0QBERAEREB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6" name="AutoShape 4" descr="data:image/jpeg;base64,/9j/4AAQSkZJRgABAQAAAQABAAD/2wCEAAkGBhQQEBASEhIPEBAWEBIQEA8UFRQPEBIQFBAVFBQQEhIXGyYeFxkjGRIUHy8gIycpLCwsFR4xNTAqNSYrLCkBCQoKDgwOGg8PGiklHyQtKTQpLDA1KiksLC0sLCw1NSwqLCwvLDQsLC0pLCotLCwsKSwsLCwsLCwsLCksLCwpKf/AABEIAMsA+AMBIgACEQEDEQH/xAAcAAEAAQUBAQAAAAAAAAAAAAAABgIDBAUHAQj/xAA+EAABAwIBCAgEBQMDBQAAAAABAAIDBBEGBRIhMUFRcZEHEzJhgaGxwSJSYtEUI0JDcoKSojPh4hVTwvDx/8QAGgEBAAIDAQAAAAAAAAAAAAAAAAUGAgMEAf/EACwRAAICAgEDAgUEAwEAAAAAAAABAgMEETEFEiETQVFhcaHxQoGRwTKx0SL/2gAMAwEAAhEDEQA/AO4oiIAiIgCK26oaDYkA/wDu1etlB1EHgQUBWiIgCIiAIiIAiIgCIiAIiIAiIgCIiAIiIAiIgCIiAIiIAiIgCIiAIi8KAt05vnHe8+QA9lW6IHWAeIBVukHwDvu7+4k+6vIC1+GbutwJb6J1O5zx439QVdRAWsx3zA8R9il3bmnxI8rK6iAtdadrHeFj7p+IG3OHFp9bK6qTIN45oCkTtP6m81cXhAO4+at/hm7gOHw+iAuorXUbi4eJPqnVu2O5gH0sgLqK18f0Hm37p1jtrT4EH1sgLqK11+8OHgT6L0VDfmHjo9UBcReB19WleoAiIgCIiAIiIAiIgCIiAIiIArdQ6zXHuPoris1XZtvIHNwCAuRtsANwA8lUiIAiKN40xnHk6K+h87geqivr+p25oXqWzKMXJ6RtMtZfho4+snkbG3YNbnHc1uslcyy70ySvJbSxtib/AN2T4nnvDdQ81BMr5Zlq5TLO8vedXytHytGwLCW5QS5JWrEjHzLyzbV2LKuc/mVM57g4sbybZa41b/nk/ud91aRZnWopcIzaXLc8RvHPOw9z3W5XspNknpXrIbB5ZUM2h4s+3c8KGIjSZjKuEuUd3w10l01YQwkwTH9t/ZJ3MfqKly+Wl0bAHSU6JzKarcXRGzY5jpdGdgedre/YtUofAj7sTS7ofwdfReNdcXGkawVRUzBjHOOoNJ5BaW0ltnAlt6Li8IXPP+uTZxIkeLkm17gX2WWVFiqdv6mu4tHsoSPW6Hymv4JN9Mt9mibGnaf0t5aea8/DjYXD+oqPZIxPJNKyMsZp1uFxYDbZSZSmPk15Ee6vg4bqZ0vtmWuqOx58QD7JZ+9p8CPcqzXZUjhzesdm31aCdSpiy1C7VKznb1WburUu1yW/hsxVU2u5J6MjPd8oPA/eyddva8eF/RVMna7U5p4EFVrYmnwYa0WvxLd9uN2+qra8HUQeGlVKh0LTra0+AXp4VorLoAATpFgTocQOV7Kikqg5o03NhfjZAZKIiAIiIArM+tg+q/JpKvKy7TI3ua4+YH3QF5ERAYmVcpMpoZJpDZjGlx3m2oDvK+dcu5akrJ3zyH4nHQ3Yxn6WDuC6P0z5aIZBStPaPWyD6WmzRzvyXKFvrXjZLYdWo979wiIth3BFvcL4Onyg8iIBsYNnzO7De4bz3LoNP0KwBvx1E7nbS0NYL9w0rFySNFl8IPTZyFF0HEfRFLAx0lM8ztAuYyLS2Hy20O4Ln5H/AMXqafBnCyM1uLPERF6bDsvRLigzwuppHXkhALCdJdCTYcjo5KR4vrMyAMGt7reA0lcYwDlM0+UaZ17Nc/qn/wAXi3rZdpxdT51PnbWuB8DoKi+pKSx59vw/P2I704wyot8N/f8AJCERFQCwkowXR/6kp/g31KlSwci0fVQRt22ueJ0q/XVIije8/paT47FesOpY+Ok/ZbZVcmbuubXx0iF4orOsqHAamDMHHWfNaheveSSTrJJPErxUq6122Sm/dlmqgq4KK9j1riNRIPdoXRsk05jhjaSS7NBcTpNzpKhGQaPraiNuwHOdwbp9V0JWDolL1K1/RER1SzzGC+oREVjIYxMqzZkErt0bvRaXDUhc0XWfimXNpZO/NbzcPssbDcVmBAb9ERAEREAVlnbd3NaPMlXlZg1vP1W5AD2KAvIiIDgnSdW9ZlOfcwMiA4NufMqKrZYkqetrKp++eTkHWHotaupcFgrWoJfILJydQOnmihZ2nvawd1za/hrWMpj0UUuflJhtcMikf42DQfNG9IWS7YuR2bImR2UkEcEYs1rbd7nbXHvJWciLlIBvb2wuHdK2RW09dnsFmzM6wgag8GzuetdxXHOmetDquCMEExwuLu4vdoB8B5rOvk6sNv1PBz1ERdBMmTk51poSNYmjI454X0Xl4XpZf4L58w7SmWrpmDSTMzkDc+QX0BiWTNpZNlwGjxIXDnNKmW/g/wDRw3+bq0vj/ZAVn5Co+tqI27Ac93ALAWyyLlcUznOzM8kAXvawVBxuz1Y+o/G/JM3d3pvs5OgKOYyrLRsjGtxueDf917FjSM9pj28io/lzKInmLxfNsGtvuCsnUOoVSx3GqW2/H7ELiYlkbk5rSRr0RehtyANZNhxKqhPEswZR2a+U7TmDgNfqpKsbJtJ1UUbNzRfjtWSr9h0+jTGHy8/UqeTb6trkERF1Ggj2MpPyom/NKPIFZmQo7MHBavFr7y07Nwc7mQPZbzJbLMHBAZqIiAIiIAVZpezfeSebiq5XWaTuBPkkLbNaNzQPJAVqxXTZkUj/AJWOdyaSr60eNqrqsn1btX5LgOLtA9V6jKK20j54e/OJdvJdzN/dUoEXUWELpHQpS3nqpPljYwcXOJPoFzddf6FaW1NUSfNMG+DWD7rCfBz5T1UzoyLWYixBHQwOmlOgaGtHae86mtXFMRdIVVWFw6wwwnVDGc3R9TtblpjFsjKceVvlcHUcWdIsFE1zWObNUW+GJpuGnfI4auGtcPyhXvnlfLI7Oke4uce87B3BY6LfGKRK00RqXjkIirihc9zWtBc5xDWtGkknQAFkbia9EeRjNW9cR8ELC6+zrHfCByuV0jGlXZkce0nOPBur1VeC8ODJ1G1jrdYfzJ3fWRpF9wAso5lev6+Zz/06mj6RqVf6zkqFPYuZeP29zlx16+R3+0TCRZWTsnPncWstcC5voFlly4Ynb+jO4EFVOGPbOPdGLaJaV1cX2ykkzVIrtRSujNntLTa9ju3q0tLTT0zYmmtoL0FeIvD0zIsrzN1Sv53UiwxlOaZ7s92cxrdwuSdQuoip1haj6unaTrec88NgUz0p22Xpdz0vL8sjM9Vwqb0ts3CIit5XiI5bdnVoHysaOdz7qT0bbNCil8+tmO5+b/aAPZS6AfCEBcREQBERAWavskb7DmQPdXlZn1sH1jyufZXkAUM6WqnMya8fPJGzwzrn0UzXNemuqtBSx/NK5/g1v/JZR5N+Ot2ROSIiLpJ09XdeiqlzMmQn53SSc3aPRcJK+jcH0vVUFIzdAy/Ei59Vqs4OHNf/AIS+ZzTplykXVUMFzmMiD7b3vJ08hZc9U96Y6Mtro5LaHwAA97HEEeY5qBLOPBvx9elHQREWRvK4oi9wa0FzibNaBdxJ2ALsfR50efhLVFQAagj4GaxCD/5ei2mBcMUkEEU8DesdIwO699nP0jSBsbp3JiDEjruiju2xzXvOh3eG7uKj8zNhjw7pfk4HOeRL06/C92eYoy7nXhjOj9xw2/SFGURUTJyJ5FjnL8EzTTGmHbEmGDaPNjdIdbjYfxH+6kSiOT8WNiYxhiNmgC4PmsqpxfG6N4aHh5aQ240XPerPiZmLTQoKS8L7kHkY19lrk48s0GXKzrZ5HbAc1vALARFU7Juybm+WT8IqEVFexUxhcQBrJAHEqajCUJaLhwdYXIOs20laDC1H1lQCdTBn+OxTpWHpGHCdcp2RT3xv5ER1DIlCajB61yRyTBTNkjx3GxUhjYGgAagABwCqRTlONVS26462Rdl9lulN70EJRY+UJc2KR25jj/iV0GkieQvjle/e9x5uKmTBoCieFYtAKlwQBERAEREBZfpezuDj6D3V5WW6ZD3NA5kn2CvIAuP9NNVeppo/lhc48XO+wXYFwjpUqs/Kco+RkbP8bn1WdfJ2Ya3YRFERdBMFcMWc5jfmc1vNwHuvp2lizGMbua1vIAL50wpS9bXUjN87CeAOcfRfSC02EZnPzFES6S8N/jKNxYLzQ3lj3kAfGzxHouDr6lXBOkXDf4Ksdmi0Mt5YtwJPxM8D6pW/Y9wrf0P9iKoiLcSR1DoexLYvonnQbyQX3/rYPXmpTjDJliJmjQbNfx2O9lw6grXQSxyxmz2OD2nvB1cNi+iMl5QjyhRskGlkjPiHyu1ObxBUbn4qyKnD+PqcM28e5Wrh8kCRXqulMT3MdrabcdxWZTYfmkYJGNBadXxAHkVQ402Sk4xi21yialZCKUm1pmtRZsuRZ264n8QM4eSwljOuUPEk19fB7GcZf4vYREWBmXIahzNLXObwNlmR4gnb+448bFa9ZWTKTrZo2bC4X/iNa31TtUlGuTW/marIw03NInuSnvdCx0ml5Fzotr1eSy141tgB4L1X6Ee2KTe9FSk9tsLV4llzaWXvAb/c4BbRaHGMloGN+aVvkCVmYlvDMVmhSJajIMdmDgtugCIiAIiFAWYNbz9QHJo+5V5WaXs33ucf8iryAL5xxdVdbX1b987wODfh9l9GP1G2uxtxXz/lLBNcHyPdTSnOe5xLbP1uJ2LZWd+E0m22RxFlT5Lmj7cMrOLHD2WKdGvR5LeSieyWdF1Ln5Th+hsknJth6rvK470L02dV1Enywhvi5/8AxXYlos5IjMe7NfIKNdIGG/xtG9rR+cz82E7c4DS3xGjkpKiwT0csZOLTR8t28N479y8Uy6UMNfhasyMFoZrvG5sn62+/ioaulPa2T8JqcVJBdF6H8RmOZ9I8/BJd8W4SAaR4j0XOls8MzmOtpXDWKiPxu4C3mvJLaMbYKcGmdsxdkzOMT2j4i4RHvv2T6qQ0sAjY1g1NaByCqkiDrXF7EOHEaiq1GV40a7Z2r9WiHnc51xg/bZrcQVnVU7zqJGY3i5c/UjxnWXeyMamjOdxOryUcVX6td6mQ4riPj/pO9Pq7Kd/ELb4cySKiR2eCWNbpsbaTq0rUKc4Uo8yAOOt5z/DYtXTcdX3pSXheWZ5tzqqbXL4LMmDIjqdIO64Psr+ScONp5C8OLjm5ouLWvrW4RWuODjxkpxgk0QMsq6UXFy8BERdhzBRjGD7vp2d7nHyA91J1EsQOzqxjfljHmSUBvsksswcFnrGoW2aFkoAiIgCpkdYE911UrNYfgdwKA9phZjf4i/G2lXVZjqmHQHtPdcXV5AEREBS5gOsA8dKwqnINPJ24IXcWNvzss9EPU2uDX5Lw/BSl5giZEX2z80WvbUtgiIG2/LCIiHhosaYcFfSSRaBIPjicdkg1eB1eK+faukfC90cjXRyNNnMcLEH7L6fWtythynqv9eGOQ7HEWcP6hpWcZ6OvHyfS8Pg+bFOei/Cb6ipZUvaRTxHODiLZ8g7IbvA13XRqbo3oI3Zwp2uN7gOLnjkTZSSOINAa0BrRoDQLADcAFlKz4G63MUo6iipeOdYEnUBcr1Y+UKd0kT2NIaXC2drtvWibai2ltnBFJtJnPcoVXWyvfvcbcNnksdb6XB0w1Ojd4kLElw5UN/bJ4EFUW3EyduUoP+C0wyKdJRkjCpKcySMYNbnAffyXSoow1oaNQAA4BRTCuSXNmc+Rjm5rfhuLfEd3gparD0bHddbnJeW/siI6lcpzUVwv7CIimyLCIiAKHTnPrpTucG8mgKYqF5IOfPK7fI4/5FAS+nFmhXVTGNAVSAIiIArVQ27SrqICCZayO5ziRdattJUR9mSVvBzvuulPpwditOye07EBAY8tVjP3XH+QDvULJjxrVN7TIn/0lp8ipc/IzTsCxZMPNOwIDTRdIJHbg/td9ws2HH8B7TZWeAcPIr2XC7TsWHLhMbkBuYcXUrv3Q3ucHN9Qs+HKkT+zLE7g5v3UKlwodyw5cMOGxAdKDr6tK9XLxkyaPsukbwcQrzMo1keqaQ8fi9UB0pFz6PF9WzX1b+LbelllRdIEg7cDT/FxHkQgJuiisPSDEe3HK3hZ3uFnQ40pXfuFv8muHsgN4iwYMtwP7M0R/qAPIrMZIDqIPA3QFSIiAIiIAiIgCIiAtVUubG925jjyBKimFo9q3+IZc2lmP0W5m3utXhiKzQgJIF6iIAiIgCIiAIiIAiIgC8svUQFJjG5UGnB2K6iAxnUDTsVl+SWnYFnogNPJkBp2BYkuGWnYpGiAiEuFBuWFLhPuU8sqSwIDnMuFnDYsc5EkZ2S9vAkei6YYBuVt1E07EBztlRVx9maXgSSORWRHiisZrc1/8mj1FlN35LadgWPJkJp2BARqLHsw7cMbuBc37rNi6QmfrhkbwId9lmy4aadiw5cKjcgMyHHFM7W57P5NPtdZ0OIqd+qeLxOb6qMy4TWFLhU7kB0GOoa7sua7gQfRXFzB2Hnt1XHDQvWNqY+zLMP6j7oCZYwktT2+aRg87+yqw/HZg4KJNqKibNbK8vaHXFwL31awFN8kxZrBwQGwREQBERAEREAREQBERAEREAREQBERAEREAREQBERAEREAREQHhaFSYRuVaICw6kaditPya07FmIgMBuSmg6gsyNlgq0QBERAEREB//9k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6150" name="Picture 6" descr="http://www.google.fr/url?source=imglanding&amp;ct=img&amp;q=http://micheltriana.com/wp-content/uploads/2010/12/resharper-8x6.png&amp;sa=X&amp;ei=4prtUZn-GurG0QWL2YCADg&amp;ved=0CAwQ8wc&amp;usg=AFQjCNF3IC8l3Wf9KK_wIp5Gwl8t2TASsA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3607" y="1988840"/>
            <a:ext cx="2008066" cy="144016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2" name="Picture 8" descr="http://www.ncrunch.net/Content/Home/N-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5572" y="3933056"/>
            <a:ext cx="1224136" cy="122413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4168" y="5445224"/>
            <a:ext cx="2857500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574820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251520" y="2171997"/>
            <a:ext cx="4392488" cy="3921299"/>
          </a:xfrm>
        </p:spPr>
        <p:txBody>
          <a:bodyPr/>
          <a:lstStyle/>
          <a:p>
            <a:endParaRPr lang="en-US" sz="2400" dirty="0" smtClean="0"/>
          </a:p>
          <a:p>
            <a:r>
              <a:rPr lang="en-US" sz="2400" dirty="0" smtClean="0"/>
              <a:t>Talk</a:t>
            </a:r>
          </a:p>
          <a:p>
            <a:r>
              <a:rPr lang="en-US" sz="2400" dirty="0" smtClean="0"/>
              <a:t>Baby steps</a:t>
            </a:r>
          </a:p>
          <a:p>
            <a:r>
              <a:rPr lang="en-US" sz="2400" dirty="0" smtClean="0"/>
              <a:t>Red Green Refactor</a:t>
            </a:r>
          </a:p>
          <a:p>
            <a:endParaRPr lang="en-US" sz="2400" dirty="0" smtClean="0"/>
          </a:p>
          <a:p>
            <a:endParaRPr lang="en-US" sz="2000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FC98-F726-4387-BD61-63831D042500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 smtClean="0"/>
              <a:t>Some tips</a:t>
            </a:r>
            <a:br>
              <a:rPr lang="en-US" sz="3600" dirty="0" smtClean="0"/>
            </a:br>
            <a:r>
              <a:rPr lang="en-US" sz="1800" dirty="0" smtClean="0"/>
              <a:t/>
            </a:r>
            <a:br>
              <a:rPr lang="en-US" sz="1800" dirty="0" smtClean="0"/>
            </a:br>
            <a:endParaRPr lang="en-US" sz="1800" dirty="0"/>
          </a:p>
        </p:txBody>
      </p:sp>
      <p:pic>
        <p:nvPicPr>
          <p:cNvPr id="7170" name="Picture 2" descr="http://iseibpsychology2012.wikispaces.com/file/view/250px-Talk_face.svg.png/229312442/250px-Talk_face.sv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640" y="4437112"/>
            <a:ext cx="1728192" cy="20738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2" name="Picture 4" descr="http://morethanpuppets.files.wordpress.com/2012/05/listen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104" y="3645024"/>
            <a:ext cx="2952328" cy="3071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Espace réservé du contenu 1"/>
          <p:cNvSpPr txBox="1">
            <a:spLocks/>
          </p:cNvSpPr>
          <p:nvPr/>
        </p:nvSpPr>
        <p:spPr bwMode="auto">
          <a:xfrm>
            <a:off x="4067944" y="2141240"/>
            <a:ext cx="4968552" cy="3921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marR="0" indent="-34290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D09E00"/>
              </a:buClr>
              <a:buSzTx/>
              <a:buFont typeface="Arial" charset="0"/>
              <a:buChar char="•"/>
              <a:tabLst/>
              <a:def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marR="0" indent="-28575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D09E00"/>
              </a:buClr>
              <a:buSzTx/>
              <a:buFont typeface="Arial" charset="0"/>
              <a:buChar char="–"/>
              <a:tabLst/>
              <a:def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marR="0" indent="-22860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D09E00"/>
              </a:buClr>
              <a:buSzTx/>
              <a:buFont typeface="Arial" charset="0"/>
              <a:buChar char="•"/>
              <a:tabLst/>
              <a:def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marR="0" indent="-22860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D09E00"/>
              </a:buClr>
              <a:buSzTx/>
              <a:buFont typeface="Arial" charset="0"/>
              <a:buChar char="–"/>
              <a:tabLst/>
              <a:def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marR="0" indent="-22860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D09E00"/>
              </a:buClr>
              <a:buSzTx/>
              <a:buFont typeface="Arial" charset="0"/>
              <a:buChar char="»"/>
              <a:tabLst/>
              <a:def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400" dirty="0" smtClean="0"/>
          </a:p>
          <a:p>
            <a:r>
              <a:rPr lang="en-US" sz="2400" dirty="0" smtClean="0"/>
              <a:t>Talk</a:t>
            </a:r>
          </a:p>
          <a:p>
            <a:r>
              <a:rPr lang="en-US" sz="2400" dirty="0" smtClean="0"/>
              <a:t>Switch pilot as much as possible</a:t>
            </a:r>
          </a:p>
          <a:p>
            <a:r>
              <a:rPr lang="en-US" sz="2400" dirty="0" smtClean="0"/>
              <a:t>(Listen)</a:t>
            </a:r>
          </a:p>
          <a:p>
            <a:endParaRPr lang="en-US" sz="2400" dirty="0" smtClean="0"/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501905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FC98-F726-4387-BD61-63831D042500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 smtClean="0"/>
              <a:t>Fruit shop</a:t>
            </a:r>
            <a:br>
              <a:rPr lang="en-US" sz="3600" dirty="0" smtClean="0"/>
            </a:br>
            <a:r>
              <a:rPr lang="en-US" sz="1800" dirty="0" smtClean="0"/>
              <a:t/>
            </a:r>
            <a:br>
              <a:rPr lang="en-US" sz="1800" dirty="0" smtClean="0"/>
            </a:br>
            <a:endParaRPr lang="en-US" sz="1800" dirty="0"/>
          </a:p>
        </p:txBody>
      </p:sp>
      <p:pic>
        <p:nvPicPr>
          <p:cNvPr id="9" name="Picture 2" descr="http://slapzine.fr/wp-content/uploads/2014/10/413150_10151134796473610_197800467_o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588" y="1839100"/>
            <a:ext cx="7740823" cy="49022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48883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395536" y="2132856"/>
            <a:ext cx="8229600" cy="4392488"/>
          </a:xfrm>
        </p:spPr>
        <p:txBody>
          <a:bodyPr/>
          <a:lstStyle/>
          <a:p>
            <a:r>
              <a:rPr lang="en-US" sz="2400" dirty="0" smtClean="0"/>
              <a:t>Pair with another dev</a:t>
            </a:r>
          </a:p>
          <a:p>
            <a:r>
              <a:rPr lang="en-US" sz="2400" dirty="0" smtClean="0"/>
              <a:t>Take a pc </a:t>
            </a:r>
          </a:p>
          <a:p>
            <a:r>
              <a:rPr lang="en-US" sz="2400" dirty="0" smtClean="0"/>
              <a:t>You’re free to use (try to use) any languages </a:t>
            </a:r>
          </a:p>
          <a:p>
            <a:r>
              <a:rPr lang="en-US" sz="2400" dirty="0" smtClean="0"/>
              <a:t>Setup a blank project</a:t>
            </a:r>
          </a:p>
          <a:p>
            <a:r>
              <a:rPr lang="en-US" sz="2400" dirty="0" smtClean="0"/>
              <a:t>Relax </a:t>
            </a:r>
          </a:p>
          <a:p>
            <a:r>
              <a:rPr lang="en-US" sz="2400" dirty="0" smtClean="0"/>
              <a:t>And prepare to become the dev team of the Fruit shop</a:t>
            </a:r>
            <a:endParaRPr lang="en-US" sz="2400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FC98-F726-4387-BD61-63831D042500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460375" y="1161913"/>
            <a:ext cx="8229600" cy="782960"/>
          </a:xfrm>
        </p:spPr>
        <p:txBody>
          <a:bodyPr/>
          <a:lstStyle/>
          <a:p>
            <a:r>
              <a:rPr lang="fr-FR" sz="3600" dirty="0" err="1" smtClean="0"/>
              <a:t>Iteration</a:t>
            </a:r>
            <a:r>
              <a:rPr lang="fr-FR" sz="3600" dirty="0" smtClean="0"/>
              <a:t> 0</a:t>
            </a:r>
            <a:r>
              <a:rPr lang="fr-FR" sz="1800" dirty="0"/>
              <a:t/>
            </a:r>
            <a:br>
              <a:rPr lang="fr-FR" sz="1800" dirty="0"/>
            </a:br>
            <a:endParaRPr lang="fr-FR" sz="1800" dirty="0"/>
          </a:p>
        </p:txBody>
      </p:sp>
      <p:sp>
        <p:nvSpPr>
          <p:cNvPr id="5" name="AutoShape 2" descr="data:image/jpeg;base64,/9j/4AAQSkZJRgABAQAAAQABAAD/2wCEAAkGBhQQEBASEhIPEBAWEBIQEA8UFRQPEBIQFBAVFBQQEhIXGyYeFxkjGRIUHy8gIycpLCwsFR4xNTAqNSYrLCkBCQoKDgwOGg8PGiklHyQtKTQpLDA1KiksLC0sLCw1NSwqLCwvLDQsLC0pLCotLCwsKSwsLCwsLCwsLCksLCwpKf/AABEIAMsA+AMBIgACEQEDEQH/xAAcAAEAAQUBAQAAAAAAAAAAAAAABgIDBAUHAQj/xAA+EAABAwIBCAgEBQMDBQAAAAABAAIDBBEGBRIhMUFRcZEHEzJhgaGxwSJSYtEUI0JDcoKSojPh4hVTwvDx/8QAGgEBAAIDAQAAAAAAAAAAAAAAAAUGAgMEAf/EACwRAAICAgEDAgUEAwEAAAAAAAABAgMEETEFEiETQVFhcaHxQoGRwTKx0SL/2gAMAwEAAhEDEQA/AO4oiIAiIgCK26oaDYkA/wDu1etlB1EHgQUBWiIgCIiAIiIAiIgCIiAIiIAiIgCIiAIiIAiIgCIiAIiIAiIgCIiAIi8KAt05vnHe8+QA9lW6IHWAeIBVukHwDvu7+4k+6vIC1+GbutwJb6J1O5zx439QVdRAWsx3zA8R9il3bmnxI8rK6iAtdadrHeFj7p+IG3OHFp9bK6qTIN45oCkTtP6m81cXhAO4+at/hm7gOHw+iAuorXUbi4eJPqnVu2O5gH0sgLqK18f0Hm37p1jtrT4EH1sgLqK11+8OHgT6L0VDfmHjo9UBcReB19WleoAiIgCIiAIiIAiIgCIiAIiIArdQ6zXHuPoris1XZtvIHNwCAuRtsANwA8lUiIAiKN40xnHk6K+h87geqivr+p25oXqWzKMXJ6RtMtZfho4+snkbG3YNbnHc1uslcyy70ySvJbSxtib/AN2T4nnvDdQ81BMr5Zlq5TLO8vedXytHytGwLCW5QS5JWrEjHzLyzbV2LKuc/mVM57g4sbybZa41b/nk/ud91aRZnWopcIzaXLc8RvHPOw9z3W5XspNknpXrIbB5ZUM2h4s+3c8KGIjSZjKuEuUd3w10l01YQwkwTH9t/ZJ3MfqKly+Wl0bAHSU6JzKarcXRGzY5jpdGdgedre/YtUofAj7sTS7ofwdfReNdcXGkawVRUzBjHOOoNJ5BaW0ltnAlt6Li8IXPP+uTZxIkeLkm17gX2WWVFiqdv6mu4tHsoSPW6Hymv4JN9Mt9mibGnaf0t5aea8/DjYXD+oqPZIxPJNKyMsZp1uFxYDbZSZSmPk15Ee6vg4bqZ0vtmWuqOx58QD7JZ+9p8CPcqzXZUjhzesdm31aCdSpiy1C7VKznb1WburUu1yW/hsxVU2u5J6MjPd8oPA/eyddva8eF/RVMna7U5p4EFVrYmnwYa0WvxLd9uN2+qra8HUQeGlVKh0LTra0+AXp4VorLoAATpFgTocQOV7Kikqg5o03NhfjZAZKIiAIiIArM+tg+q/JpKvKy7TI3ua4+YH3QF5ERAYmVcpMpoZJpDZjGlx3m2oDvK+dcu5akrJ3zyH4nHQ3Yxn6WDuC6P0z5aIZBStPaPWyD6WmzRzvyXKFvrXjZLYdWo979wiIth3BFvcL4Onyg8iIBsYNnzO7De4bz3LoNP0KwBvx1E7nbS0NYL9w0rFySNFl8IPTZyFF0HEfRFLAx0lM8ztAuYyLS2Hy20O4Ln5H/AMXqafBnCyM1uLPERF6bDsvRLigzwuppHXkhALCdJdCTYcjo5KR4vrMyAMGt7reA0lcYwDlM0+UaZ17Nc/qn/wAXi3rZdpxdT51PnbWuB8DoKi+pKSx59vw/P2I704wyot8N/f8AJCERFQCwkowXR/6kp/g31KlSwci0fVQRt22ueJ0q/XVIije8/paT47FesOpY+Ok/ZbZVcmbuubXx0iF4orOsqHAamDMHHWfNaheveSSTrJJPErxUq6122Sm/dlmqgq4KK9j1riNRIPdoXRsk05jhjaSS7NBcTpNzpKhGQaPraiNuwHOdwbp9V0JWDolL1K1/RER1SzzGC+oREVjIYxMqzZkErt0bvRaXDUhc0XWfimXNpZO/NbzcPssbDcVmBAb9ERAEREAVlnbd3NaPMlXlZg1vP1W5AD2KAvIiIDgnSdW9ZlOfcwMiA4NufMqKrZYkqetrKp++eTkHWHotaupcFgrWoJfILJydQOnmihZ2nvawd1za/hrWMpj0UUuflJhtcMikf42DQfNG9IWS7YuR2bImR2UkEcEYs1rbd7nbXHvJWciLlIBvb2wuHdK2RW09dnsFmzM6wgag8GzuetdxXHOmetDquCMEExwuLu4vdoB8B5rOvk6sNv1PBz1ERdBMmTk51poSNYmjI454X0Xl4XpZf4L58w7SmWrpmDSTMzkDc+QX0BiWTNpZNlwGjxIXDnNKmW/g/wDRw3+bq0vj/ZAVn5Co+tqI27Ac93ALAWyyLlcUznOzM8kAXvawVBxuz1Y+o/G/JM3d3pvs5OgKOYyrLRsjGtxueDf917FjSM9pj28io/lzKInmLxfNsGtvuCsnUOoVSx3GqW2/H7ELiYlkbk5rSRr0RehtyANZNhxKqhPEswZR2a+U7TmDgNfqpKsbJtJ1UUbNzRfjtWSr9h0+jTGHy8/UqeTb6trkERF1Ggj2MpPyom/NKPIFZmQo7MHBavFr7y07Nwc7mQPZbzJbLMHBAZqIiAIiIAVZpezfeSebiq5XWaTuBPkkLbNaNzQPJAVqxXTZkUj/AJWOdyaSr60eNqrqsn1btX5LgOLtA9V6jKK20j54e/OJdvJdzN/dUoEXUWELpHQpS3nqpPljYwcXOJPoFzddf6FaW1NUSfNMG+DWD7rCfBz5T1UzoyLWYixBHQwOmlOgaGtHae86mtXFMRdIVVWFw6wwwnVDGc3R9TtblpjFsjKceVvlcHUcWdIsFE1zWObNUW+GJpuGnfI4auGtcPyhXvnlfLI7Oke4uce87B3BY6LfGKRK00RqXjkIirihc9zWtBc5xDWtGkknQAFkbia9EeRjNW9cR8ELC6+zrHfCByuV0jGlXZkce0nOPBur1VeC8ODJ1G1jrdYfzJ3fWRpF9wAso5lev6+Zz/06mj6RqVf6zkqFPYuZeP29zlx16+R3+0TCRZWTsnPncWstcC5voFlly4Ynb+jO4EFVOGPbOPdGLaJaV1cX2ykkzVIrtRSujNntLTa9ju3q0tLTT0zYmmtoL0FeIvD0zIsrzN1Sv53UiwxlOaZ7s92cxrdwuSdQuoip1haj6unaTrec88NgUz0p22Xpdz0vL8sjM9Vwqb0ts3CIit5XiI5bdnVoHysaOdz7qT0bbNCil8+tmO5+b/aAPZS6AfCEBcREQBERAWavskb7DmQPdXlZn1sH1jyufZXkAUM6WqnMya8fPJGzwzrn0UzXNemuqtBSx/NK5/g1v/JZR5N+Ot2ROSIiLpJ09XdeiqlzMmQn53SSc3aPRcJK+jcH0vVUFIzdAy/Ei59Vqs4OHNf/AIS+ZzTplykXVUMFzmMiD7b3vJ08hZc9U96Y6Mtro5LaHwAA97HEEeY5qBLOPBvx9elHQREWRvK4oi9wa0FzibNaBdxJ2ALsfR50efhLVFQAagj4GaxCD/5ei2mBcMUkEEU8DesdIwO699nP0jSBsbp3JiDEjruiju2xzXvOh3eG7uKj8zNhjw7pfk4HOeRL06/C92eYoy7nXhjOj9xw2/SFGURUTJyJ5FjnL8EzTTGmHbEmGDaPNjdIdbjYfxH+6kSiOT8WNiYxhiNmgC4PmsqpxfG6N4aHh5aQ240XPerPiZmLTQoKS8L7kHkY19lrk48s0GXKzrZ5HbAc1vALARFU7Juybm+WT8IqEVFexUxhcQBrJAHEqajCUJaLhwdYXIOs20laDC1H1lQCdTBn+OxTpWHpGHCdcp2RT3xv5ER1DIlCajB61yRyTBTNkjx3GxUhjYGgAagABwCqRTlONVS26462Rdl9lulN70EJRY+UJc2KR25jj/iV0GkieQvjle/e9x5uKmTBoCieFYtAKlwQBERAEREBZfpezuDj6D3V5WW6ZD3NA5kn2CvIAuP9NNVeppo/lhc48XO+wXYFwjpUqs/Kco+RkbP8bn1WdfJ2Ya3YRFERdBMFcMWc5jfmc1vNwHuvp2lizGMbua1vIAL50wpS9bXUjN87CeAOcfRfSC02EZnPzFES6S8N/jKNxYLzQ3lj3kAfGzxHouDr6lXBOkXDf4Ksdmi0Mt5YtwJPxM8D6pW/Y9wrf0P9iKoiLcSR1DoexLYvonnQbyQX3/rYPXmpTjDJliJmjQbNfx2O9lw6grXQSxyxmz2OD2nvB1cNi+iMl5QjyhRskGlkjPiHyu1ObxBUbn4qyKnD+PqcM28e5Wrh8kCRXqulMT3MdrabcdxWZTYfmkYJGNBadXxAHkVQ402Sk4xi21yialZCKUm1pmtRZsuRZ264n8QM4eSwljOuUPEk19fB7GcZf4vYREWBmXIahzNLXObwNlmR4gnb+448bFa9ZWTKTrZo2bC4X/iNa31TtUlGuTW/marIw03NInuSnvdCx0ml5Fzotr1eSy141tgB4L1X6Ee2KTe9FSk9tsLV4llzaWXvAb/c4BbRaHGMloGN+aVvkCVmYlvDMVmhSJajIMdmDgtugCIiAIiFAWYNbz9QHJo+5V5WaXs33ucf8iryAL5xxdVdbX1b987wODfh9l9GP1G2uxtxXz/lLBNcHyPdTSnOe5xLbP1uJ2LZWd+E0m22RxFlT5Lmj7cMrOLHD2WKdGvR5LeSieyWdF1Ln5Th+hsknJth6rvK470L02dV1Enywhvi5/8AxXYlos5IjMe7NfIKNdIGG/xtG9rR+cz82E7c4DS3xGjkpKiwT0csZOLTR8t28N479y8Uy6UMNfhasyMFoZrvG5sn62+/ioaulPa2T8JqcVJBdF6H8RmOZ9I8/BJd8W4SAaR4j0XOls8MzmOtpXDWKiPxu4C3mvJLaMbYKcGmdsxdkzOMT2j4i4RHvv2T6qQ0sAjY1g1NaByCqkiDrXF7EOHEaiq1GV40a7Z2r9WiHnc51xg/bZrcQVnVU7zqJGY3i5c/UjxnWXeyMamjOdxOryUcVX6td6mQ4riPj/pO9Pq7Kd/ELb4cySKiR2eCWNbpsbaTq0rUKc4Uo8yAOOt5z/DYtXTcdX3pSXheWZ5tzqqbXL4LMmDIjqdIO64Psr+ScONp5C8OLjm5ouLWvrW4RWuODjxkpxgk0QMsq6UXFy8BERdhzBRjGD7vp2d7nHyA91J1EsQOzqxjfljHmSUBvsksswcFnrGoW2aFkoAiIgCpkdYE911UrNYfgdwKA9phZjf4i/G2lXVZjqmHQHtPdcXV5AEREBS5gOsA8dKwqnINPJ24IXcWNvzss9EPU2uDX5Lw/BSl5giZEX2z80WvbUtgiIG2/LCIiHhosaYcFfSSRaBIPjicdkg1eB1eK+faukfC90cjXRyNNnMcLEH7L6fWtythynqv9eGOQ7HEWcP6hpWcZ6OvHyfS8Pg+bFOei/Cb6ipZUvaRTxHODiLZ8g7IbvA13XRqbo3oI3Zwp2uN7gOLnjkTZSSOINAa0BrRoDQLADcAFlKz4G63MUo6iipeOdYEnUBcr1Y+UKd0kT2NIaXC2drtvWibai2ltnBFJtJnPcoVXWyvfvcbcNnksdb6XB0w1Ojd4kLElw5UN/bJ4EFUW3EyduUoP+C0wyKdJRkjCpKcySMYNbnAffyXSoow1oaNQAA4BRTCuSXNmc+Rjm5rfhuLfEd3gparD0bHddbnJeW/siI6lcpzUVwv7CIimyLCIiAKHTnPrpTucG8mgKYqF5IOfPK7fI4/5FAS+nFmhXVTGNAVSAIiIArVQ27SrqICCZayO5ziRdattJUR9mSVvBzvuulPpwditOye07EBAY8tVjP3XH+QDvULJjxrVN7TIn/0lp8ipc/IzTsCxZMPNOwIDTRdIJHbg/td9ws2HH8B7TZWeAcPIr2XC7TsWHLhMbkBuYcXUrv3Q3ucHN9Qs+HKkT+zLE7g5v3UKlwodyw5cMOGxAdKDr6tK9XLxkyaPsukbwcQrzMo1keqaQ8fi9UB0pFz6PF9WzX1b+LbelllRdIEg7cDT/FxHkQgJuiisPSDEe3HK3hZ3uFnQ40pXfuFv8muHsgN4iwYMtwP7M0R/qAPIrMZIDqIPA3QFSIiAIiIAiIgCIiAtVUubG925jjyBKimFo9q3+IZc2lmP0W5m3utXhiKzQgJIF6iIAiIgCIiAIiIAiIgC8svUQFJjG5UGnB2K6iAxnUDTsVl+SWnYFnogNPJkBp2BYkuGWnYpGiAiEuFBuWFLhPuU8sqSwIDnMuFnDYsc5EkZ2S9vAkei6YYBuVt1E07EBztlRVx9maXgSSORWRHiisZrc1/8mj1FlN35LadgWPJkJp2BARqLHsw7cMbuBc37rNi6QmfrhkbwId9lmy4aadiw5cKjcgMyHHFM7W57P5NPtdZ0OIqd+qeLxOb6qMy4TWFLhU7kB0GOoa7sua7gQfRXFzB2Hnt1XHDQvWNqY+zLMP6j7oCZYwktT2+aRg87+yqw/HZg4KJNqKibNbK8vaHXFwL31awFN8kxZrBwQGwREQBERAEREAREQBERAEREAREQBERAEREAREQBERAEREAREQHhaFSYRuVaICw6kaditPya07FmIgMBuSmg6gsyNlgq0QBERAEREB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6" name="AutoShape 4" descr="data:image/jpeg;base64,/9j/4AAQSkZJRgABAQAAAQABAAD/2wCEAAkGBhQQEBASEhIPEBAWEBIQEA8UFRQPEBIQFBAVFBQQEhIXGyYeFxkjGRIUHy8gIycpLCwsFR4xNTAqNSYrLCkBCQoKDgwOGg8PGiklHyQtKTQpLDA1KiksLC0sLCw1NSwqLCwvLDQsLC0pLCotLCwsKSwsLCwsLCwsLCksLCwpKf/AABEIAMsA+AMBIgACEQEDEQH/xAAcAAEAAQUBAQAAAAAAAAAAAAAABgIDBAUHAQj/xAA+EAABAwIBCAgEBQMDBQAAAAABAAIDBBEGBRIhMUFRcZEHEzJhgaGxwSJSYtEUI0JDcoKSojPh4hVTwvDx/8QAGgEBAAIDAQAAAAAAAAAAAAAAAAUGAgMEAf/EACwRAAICAgEDAgUEAwEAAAAAAAABAgMEETEFEiETQVFhcaHxQoGRwTKx0SL/2gAMAwEAAhEDEQA/AO4oiIAiIgCK26oaDYkA/wDu1etlB1EHgQUBWiIgCIiAIiIAiIgCIiAIiIAiIgCIiAIiIAiIgCIiAIiIAiIgCIiAIi8KAt05vnHe8+QA9lW6IHWAeIBVukHwDvu7+4k+6vIC1+GbutwJb6J1O5zx439QVdRAWsx3zA8R9il3bmnxI8rK6iAtdadrHeFj7p+IG3OHFp9bK6qTIN45oCkTtP6m81cXhAO4+at/hm7gOHw+iAuorXUbi4eJPqnVu2O5gH0sgLqK18f0Hm37p1jtrT4EH1sgLqK11+8OHgT6L0VDfmHjo9UBcReB19WleoAiIgCIiAIiIAiIgCIiAIiIArdQ6zXHuPoris1XZtvIHNwCAuRtsANwA8lUiIAiKN40xnHk6K+h87geqivr+p25oXqWzKMXJ6RtMtZfho4+snkbG3YNbnHc1uslcyy70ySvJbSxtib/AN2T4nnvDdQ81BMr5Zlq5TLO8vedXytHytGwLCW5QS5JWrEjHzLyzbV2LKuc/mVM57g4sbybZa41b/nk/ud91aRZnWopcIzaXLc8RvHPOw9z3W5XspNknpXrIbB5ZUM2h4s+3c8KGIjSZjKuEuUd3w10l01YQwkwTH9t/ZJ3MfqKly+Wl0bAHSU6JzKarcXRGzY5jpdGdgedre/YtUofAj7sTS7ofwdfReNdcXGkawVRUzBjHOOoNJ5BaW0ltnAlt6Li8IXPP+uTZxIkeLkm17gX2WWVFiqdv6mu4tHsoSPW6Hymv4JN9Mt9mibGnaf0t5aea8/DjYXD+oqPZIxPJNKyMsZp1uFxYDbZSZSmPk15Ee6vg4bqZ0vtmWuqOx58QD7JZ+9p8CPcqzXZUjhzesdm31aCdSpiy1C7VKznb1WburUu1yW/hsxVU2u5J6MjPd8oPA/eyddva8eF/RVMna7U5p4EFVrYmnwYa0WvxLd9uN2+qra8HUQeGlVKh0LTra0+AXp4VorLoAATpFgTocQOV7Kikqg5o03NhfjZAZKIiAIiIArM+tg+q/JpKvKy7TI3ua4+YH3QF5ERAYmVcpMpoZJpDZjGlx3m2oDvK+dcu5akrJ3zyH4nHQ3Yxn6WDuC6P0z5aIZBStPaPWyD6WmzRzvyXKFvrXjZLYdWo979wiIth3BFvcL4Onyg8iIBsYNnzO7De4bz3LoNP0KwBvx1E7nbS0NYL9w0rFySNFl8IPTZyFF0HEfRFLAx0lM8ztAuYyLS2Hy20O4Ln5H/AMXqafBnCyM1uLPERF6bDsvRLigzwuppHXkhALCdJdCTYcjo5KR4vrMyAMGt7reA0lcYwDlM0+UaZ17Nc/qn/wAXi3rZdpxdT51PnbWuB8DoKi+pKSx59vw/P2I704wyot8N/f8AJCERFQCwkowXR/6kp/g31KlSwci0fVQRt22ueJ0q/XVIije8/paT47FesOpY+Ok/ZbZVcmbuubXx0iF4orOsqHAamDMHHWfNaheveSSTrJJPErxUq6122Sm/dlmqgq4KK9j1riNRIPdoXRsk05jhjaSS7NBcTpNzpKhGQaPraiNuwHOdwbp9V0JWDolL1K1/RER1SzzGC+oREVjIYxMqzZkErt0bvRaXDUhc0XWfimXNpZO/NbzcPssbDcVmBAb9ERAEREAVlnbd3NaPMlXlZg1vP1W5AD2KAvIiIDgnSdW9ZlOfcwMiA4NufMqKrZYkqetrKp++eTkHWHotaupcFgrWoJfILJydQOnmihZ2nvawd1za/hrWMpj0UUuflJhtcMikf42DQfNG9IWS7YuR2bImR2UkEcEYs1rbd7nbXHvJWciLlIBvb2wuHdK2RW09dnsFmzM6wgag8GzuetdxXHOmetDquCMEExwuLu4vdoB8B5rOvk6sNv1PBz1ERdBMmTk51poSNYmjI454X0Xl4XpZf4L58w7SmWrpmDSTMzkDc+QX0BiWTNpZNlwGjxIXDnNKmW/g/wDRw3+bq0vj/ZAVn5Co+tqI27Ac93ALAWyyLlcUznOzM8kAXvawVBxuz1Y+o/G/JM3d3pvs5OgKOYyrLRsjGtxueDf917FjSM9pj28io/lzKInmLxfNsGtvuCsnUOoVSx3GqW2/H7ELiYlkbk5rSRr0RehtyANZNhxKqhPEswZR2a+U7TmDgNfqpKsbJtJ1UUbNzRfjtWSr9h0+jTGHy8/UqeTb6trkERF1Ggj2MpPyom/NKPIFZmQo7MHBavFr7y07Nwc7mQPZbzJbLMHBAZqIiAIiIAVZpezfeSebiq5XWaTuBPkkLbNaNzQPJAVqxXTZkUj/AJWOdyaSr60eNqrqsn1btX5LgOLtA9V6jKK20j54e/OJdvJdzN/dUoEXUWELpHQpS3nqpPljYwcXOJPoFzddf6FaW1NUSfNMG+DWD7rCfBz5T1UzoyLWYixBHQwOmlOgaGtHae86mtXFMRdIVVWFw6wwwnVDGc3R9TtblpjFsjKceVvlcHUcWdIsFE1zWObNUW+GJpuGnfI4auGtcPyhXvnlfLI7Oke4uce87B3BY6LfGKRK00RqXjkIirihc9zWtBc5xDWtGkknQAFkbia9EeRjNW9cR8ELC6+zrHfCByuV0jGlXZkce0nOPBur1VeC8ODJ1G1jrdYfzJ3fWRpF9wAso5lev6+Zz/06mj6RqVf6zkqFPYuZeP29zlx16+R3+0TCRZWTsnPncWstcC5voFlly4Ynb+jO4EFVOGPbOPdGLaJaV1cX2ykkzVIrtRSujNntLTa9ju3q0tLTT0zYmmtoL0FeIvD0zIsrzN1Sv53UiwxlOaZ7s92cxrdwuSdQuoip1haj6unaTrec88NgUz0p22Xpdz0vL8sjM9Vwqb0ts3CIit5XiI5bdnVoHysaOdz7qT0bbNCil8+tmO5+b/aAPZS6AfCEBcREQBERAWavskb7DmQPdXlZn1sH1jyufZXkAUM6WqnMya8fPJGzwzrn0UzXNemuqtBSx/NK5/g1v/JZR5N+Ot2ROSIiLpJ09XdeiqlzMmQn53SSc3aPRcJK+jcH0vVUFIzdAy/Ei59Vqs4OHNf/AIS+ZzTplykXVUMFzmMiD7b3vJ08hZc9U96Y6Mtro5LaHwAA97HEEeY5qBLOPBvx9elHQREWRvK4oi9wa0FzibNaBdxJ2ALsfR50efhLVFQAagj4GaxCD/5ei2mBcMUkEEU8DesdIwO699nP0jSBsbp3JiDEjruiju2xzXvOh3eG7uKj8zNhjw7pfk4HOeRL06/C92eYoy7nXhjOj9xw2/SFGURUTJyJ5FjnL8EzTTGmHbEmGDaPNjdIdbjYfxH+6kSiOT8WNiYxhiNmgC4PmsqpxfG6N4aHh5aQ240XPerPiZmLTQoKS8L7kHkY19lrk48s0GXKzrZ5HbAc1vALARFU7Juybm+WT8IqEVFexUxhcQBrJAHEqajCUJaLhwdYXIOs20laDC1H1lQCdTBn+OxTpWHpGHCdcp2RT3xv5ER1DIlCajB61yRyTBTNkjx3GxUhjYGgAagABwCqRTlONVS26462Rdl9lulN70EJRY+UJc2KR25jj/iV0GkieQvjle/e9x5uKmTBoCieFYtAKlwQBERAEREBZfpezuDj6D3V5WW6ZD3NA5kn2CvIAuP9NNVeppo/lhc48XO+wXYFwjpUqs/Kco+RkbP8bn1WdfJ2Ya3YRFERdBMFcMWc5jfmc1vNwHuvp2lizGMbua1vIAL50wpS9bXUjN87CeAOcfRfSC02EZnPzFES6S8N/jKNxYLzQ3lj3kAfGzxHouDr6lXBOkXDf4Ksdmi0Mt5YtwJPxM8D6pW/Y9wrf0P9iKoiLcSR1DoexLYvonnQbyQX3/rYPXmpTjDJliJmjQbNfx2O9lw6grXQSxyxmz2OD2nvB1cNi+iMl5QjyhRskGlkjPiHyu1ObxBUbn4qyKnD+PqcM28e5Wrh8kCRXqulMT3MdrabcdxWZTYfmkYJGNBadXxAHkVQ402Sk4xi21yialZCKUm1pmtRZsuRZ264n8QM4eSwljOuUPEk19fB7GcZf4vYREWBmXIahzNLXObwNlmR4gnb+448bFa9ZWTKTrZo2bC4X/iNa31TtUlGuTW/marIw03NInuSnvdCx0ml5Fzotr1eSy141tgB4L1X6Ee2KTe9FSk9tsLV4llzaWXvAb/c4BbRaHGMloGN+aVvkCVmYlvDMVmhSJajIMdmDgtugCIiAIiFAWYNbz9QHJo+5V5WaXs33ucf8iryAL5xxdVdbX1b987wODfh9l9GP1G2uxtxXz/lLBNcHyPdTSnOe5xLbP1uJ2LZWd+E0m22RxFlT5Lmj7cMrOLHD2WKdGvR5LeSieyWdF1Ln5Th+hsknJth6rvK470L02dV1Enywhvi5/8AxXYlos5IjMe7NfIKNdIGG/xtG9rR+cz82E7c4DS3xGjkpKiwT0csZOLTR8t28N479y8Uy6UMNfhasyMFoZrvG5sn62+/ioaulPa2T8JqcVJBdF6H8RmOZ9I8/BJd8W4SAaR4j0XOls8MzmOtpXDWKiPxu4C3mvJLaMbYKcGmdsxdkzOMT2j4i4RHvv2T6qQ0sAjY1g1NaByCqkiDrXF7EOHEaiq1GV40a7Z2r9WiHnc51xg/bZrcQVnVU7zqJGY3i5c/UjxnWXeyMamjOdxOryUcVX6td6mQ4riPj/pO9Pq7Kd/ELb4cySKiR2eCWNbpsbaTq0rUKc4Uo8yAOOt5z/DYtXTcdX3pSXheWZ5tzqqbXL4LMmDIjqdIO64Psr+ScONp5C8OLjm5ouLWvrW4RWuODjxkpxgk0QMsq6UXFy8BERdhzBRjGD7vp2d7nHyA91J1EsQOzqxjfljHmSUBvsksswcFnrGoW2aFkoAiIgCpkdYE911UrNYfgdwKA9phZjf4i/G2lXVZjqmHQHtPdcXV5AEREBS5gOsA8dKwqnINPJ24IXcWNvzss9EPU2uDX5Lw/BSl5giZEX2z80WvbUtgiIG2/LCIiHhosaYcFfSSRaBIPjicdkg1eB1eK+faukfC90cjXRyNNnMcLEH7L6fWtythynqv9eGOQ7HEWcP6hpWcZ6OvHyfS8Pg+bFOei/Cb6ipZUvaRTxHODiLZ8g7IbvA13XRqbo3oI3Zwp2uN7gOLnjkTZSSOINAa0BrRoDQLADcAFlKz4G63MUo6iipeOdYEnUBcr1Y+UKd0kT2NIaXC2drtvWibai2ltnBFJtJnPcoVXWyvfvcbcNnksdb6XB0w1Ojd4kLElw5UN/bJ4EFUW3EyduUoP+C0wyKdJRkjCpKcySMYNbnAffyXSoow1oaNQAA4BRTCuSXNmc+Rjm5rfhuLfEd3gparD0bHddbnJeW/siI6lcpzUVwv7CIimyLCIiAKHTnPrpTucG8mgKYqF5IOfPK7fI4/5FAS+nFmhXVTGNAVSAIiIArVQ27SrqICCZayO5ziRdattJUR9mSVvBzvuulPpwditOye07EBAY8tVjP3XH+QDvULJjxrVN7TIn/0lp8ipc/IzTsCxZMPNOwIDTRdIJHbg/td9ws2HH8B7TZWeAcPIr2XC7TsWHLhMbkBuYcXUrv3Q3ucHN9Qs+HKkT+zLE7g5v3UKlwodyw5cMOGxAdKDr6tK9XLxkyaPsukbwcQrzMo1keqaQ8fi9UB0pFz6PF9WzX1b+LbelllRdIEg7cDT/FxHkQgJuiisPSDEe3HK3hZ3uFnQ40pXfuFv8muHsgN4iwYMtwP7M0R/qAPIrMZIDqIPA3QFSIiAIiIAiIgCIiAtVUubG925jjyBKimFo9q3+IZc2lmP0W5m3utXhiKzQgJIF6iIAiIgCIiAIiIAiIgC8svUQFJjG5UGnB2K6iAxnUDTsVl+SWnYFnogNPJkBp2BYkuGWnYpGiAiEuFBuWFLhPuU8sqSwIDnMuFnDYsc5EkZ2S9vAkei6YYBuVt1E07EBztlRVx9maXgSSORWRHiisZrc1/8mj1FlN35LadgWPJkJp2BARqLHsw7cMbuBc37rNi6QmfrhkbwId9lmy4aadiw5cKjcgMyHHFM7W57P5NPtdZ0OIqd+qeLxOb6qMy4TWFLhU7kB0GOoa7sua7gQfRXFzB2Hnt1XHDQvWNqY+zLMP6j7oCZYwktT2+aRg87+yqw/HZg4KJNqKibNbK8vaHXFwL31awFN8kxZrBwQGwREQBERAEREAREQBERAEREAREQBERAEREAREQBERAEREAREQHhaFSYRuVaICw6kaditPya07FmIgMBuSmg6gsyNlgq0QBERAEREB//9k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3074" name="Picture 2" descr="http://simpleicon.com/wp-content/uploads/stopwatch-1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262787" y="1196752"/>
            <a:ext cx="765597" cy="765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ZoneTexte 6"/>
          <p:cNvSpPr txBox="1"/>
          <p:nvPr/>
        </p:nvSpPr>
        <p:spPr>
          <a:xfrm>
            <a:off x="8006095" y="1315500"/>
            <a:ext cx="74236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dirty="0" smtClean="0"/>
              <a:t>10’</a:t>
            </a:r>
            <a:endParaRPr lang="fr-FR" sz="3200" dirty="0"/>
          </a:p>
        </p:txBody>
      </p:sp>
    </p:spTree>
    <p:extLst>
      <p:ext uri="{BB962C8B-B14F-4D97-AF65-F5344CB8AC3E}">
        <p14:creationId xmlns:p14="http://schemas.microsoft.com/office/powerpoint/2010/main" val="3141514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395536" y="2132856"/>
            <a:ext cx="6157664" cy="4392488"/>
          </a:xfrm>
        </p:spPr>
        <p:txBody>
          <a:bodyPr/>
          <a:lstStyle/>
          <a:p>
            <a:r>
              <a:rPr lang="en-US" sz="2400" dirty="0" smtClean="0"/>
              <a:t>Goal : Implement a cashier machine</a:t>
            </a:r>
          </a:p>
          <a:p>
            <a:r>
              <a:rPr lang="en-US" sz="2400" dirty="0" smtClean="0"/>
              <a:t>3 products</a:t>
            </a:r>
          </a:p>
          <a:p>
            <a:pPr lvl="1"/>
            <a:r>
              <a:rPr lang="en-US" sz="2200" dirty="0" smtClean="0"/>
              <a:t>Apples 1 €, Bananas 1,5€, Cherries 0,75€</a:t>
            </a:r>
          </a:p>
          <a:p>
            <a:r>
              <a:rPr lang="en-US" sz="2400" dirty="0" smtClean="0"/>
              <a:t>1 product is entered at a time, when entered display total price in cents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FC98-F726-4387-BD61-63831D042500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460375" y="1161913"/>
            <a:ext cx="8229600" cy="782960"/>
          </a:xfrm>
        </p:spPr>
        <p:txBody>
          <a:bodyPr/>
          <a:lstStyle/>
          <a:p>
            <a:r>
              <a:rPr lang="fr-FR" sz="3600" dirty="0" err="1" smtClean="0"/>
              <a:t>Iteration</a:t>
            </a:r>
            <a:r>
              <a:rPr lang="fr-FR" sz="3600" dirty="0" smtClean="0"/>
              <a:t> 1</a:t>
            </a:r>
            <a:r>
              <a:rPr lang="fr-FR" sz="1800" dirty="0"/>
              <a:t/>
            </a:r>
            <a:br>
              <a:rPr lang="fr-FR" sz="1800" dirty="0"/>
            </a:br>
            <a:endParaRPr lang="fr-FR" sz="1800" dirty="0"/>
          </a:p>
        </p:txBody>
      </p:sp>
      <p:sp>
        <p:nvSpPr>
          <p:cNvPr id="5" name="AutoShape 2" descr="data:image/jpeg;base64,/9j/4AAQSkZJRgABAQAAAQABAAD/2wCEAAkGBhQQEBASEhIPEBAWEBIQEA8UFRQPEBIQFBAVFBQQEhIXGyYeFxkjGRIUHy8gIycpLCwsFR4xNTAqNSYrLCkBCQoKDgwOGg8PGiklHyQtKTQpLDA1KiksLC0sLCw1NSwqLCwvLDQsLC0pLCotLCwsKSwsLCwsLCwsLCksLCwpKf/AABEIAMsA+AMBIgACEQEDEQH/xAAcAAEAAQUBAQAAAAAAAAAAAAAABgIDBAUHAQj/xAA+EAABAwIBCAgEBQMDBQAAAAABAAIDBBEGBRIhMUFRcZEHEzJhgaGxwSJSYtEUI0JDcoKSojPh4hVTwvDx/8QAGgEBAAIDAQAAAAAAAAAAAAAAAAUGAgMEAf/EACwRAAICAgEDAgUEAwEAAAAAAAABAgMEETEFEiETQVFhcaHxQoGRwTKx0SL/2gAMAwEAAhEDEQA/AO4oiIAiIgCK26oaDYkA/wDu1etlB1EHgQUBWiIgCIiAIiIAiIgCIiAIiIAiIgCIiAIiIAiIgCIiAIiIAiIgCIiAIi8KAt05vnHe8+QA9lW6IHWAeIBVukHwDvu7+4k+6vIC1+GbutwJb6J1O5zx439QVdRAWsx3zA8R9il3bmnxI8rK6iAtdadrHeFj7p+IG3OHFp9bK6qTIN45oCkTtP6m81cXhAO4+at/hm7gOHw+iAuorXUbi4eJPqnVu2O5gH0sgLqK18f0Hm37p1jtrT4EH1sgLqK11+8OHgT6L0VDfmHjo9UBcReB19WleoAiIgCIiAIiIAiIgCIiAIiIArdQ6zXHuPoris1XZtvIHNwCAuRtsANwA8lUiIAiKN40xnHk6K+h87geqivr+p25oXqWzKMXJ6RtMtZfho4+snkbG3YNbnHc1uslcyy70ySvJbSxtib/AN2T4nnvDdQ81BMr5Zlq5TLO8vedXytHytGwLCW5QS5JWrEjHzLyzbV2LKuc/mVM57g4sbybZa41b/nk/ud91aRZnWopcIzaXLc8RvHPOw9z3W5XspNknpXrIbB5ZUM2h4s+3c8KGIjSZjKuEuUd3w10l01YQwkwTH9t/ZJ3MfqKly+Wl0bAHSU6JzKarcXRGzY5jpdGdgedre/YtUofAj7sTS7ofwdfReNdcXGkawVRUzBjHOOoNJ5BaW0ltnAlt6Li8IXPP+uTZxIkeLkm17gX2WWVFiqdv6mu4tHsoSPW6Hymv4JN9Mt9mibGnaf0t5aea8/DjYXD+oqPZIxPJNKyMsZp1uFxYDbZSZSmPk15Ee6vg4bqZ0vtmWuqOx58QD7JZ+9p8CPcqzXZUjhzesdm31aCdSpiy1C7VKznb1WburUu1yW/hsxVU2u5J6MjPd8oPA/eyddva8eF/RVMna7U5p4EFVrYmnwYa0WvxLd9uN2+qra8HUQeGlVKh0LTra0+AXp4VorLoAATpFgTocQOV7Kikqg5o03NhfjZAZKIiAIiIArM+tg+q/JpKvKy7TI3ua4+YH3QF5ERAYmVcpMpoZJpDZjGlx3m2oDvK+dcu5akrJ3zyH4nHQ3Yxn6WDuC6P0z5aIZBStPaPWyD6WmzRzvyXKFvrXjZLYdWo979wiIth3BFvcL4Onyg8iIBsYNnzO7De4bz3LoNP0KwBvx1E7nbS0NYL9w0rFySNFl8IPTZyFF0HEfRFLAx0lM8ztAuYyLS2Hy20O4Ln5H/AMXqafBnCyM1uLPERF6bDsvRLigzwuppHXkhALCdJdCTYcjo5KR4vrMyAMGt7reA0lcYwDlM0+UaZ17Nc/qn/wAXi3rZdpxdT51PnbWuB8DoKi+pKSx59vw/P2I704wyot8N/f8AJCERFQCwkowXR/6kp/g31KlSwci0fVQRt22ueJ0q/XVIije8/paT47FesOpY+Ok/ZbZVcmbuubXx0iF4orOsqHAamDMHHWfNaheveSSTrJJPErxUq6122Sm/dlmqgq4KK9j1riNRIPdoXRsk05jhjaSS7NBcTpNzpKhGQaPraiNuwHOdwbp9V0JWDolL1K1/RER1SzzGC+oREVjIYxMqzZkErt0bvRaXDUhc0XWfimXNpZO/NbzcPssbDcVmBAb9ERAEREAVlnbd3NaPMlXlZg1vP1W5AD2KAvIiIDgnSdW9ZlOfcwMiA4NufMqKrZYkqetrKp++eTkHWHotaupcFgrWoJfILJydQOnmihZ2nvawd1za/hrWMpj0UUuflJhtcMikf42DQfNG9IWS7YuR2bImR2UkEcEYs1rbd7nbXHvJWciLlIBvb2wuHdK2RW09dnsFmzM6wgag8GzuetdxXHOmetDquCMEExwuLu4vdoB8B5rOvk6sNv1PBz1ERdBMmTk51poSNYmjI454X0Xl4XpZf4L58w7SmWrpmDSTMzkDc+QX0BiWTNpZNlwGjxIXDnNKmW/g/wDRw3+bq0vj/ZAVn5Co+tqI27Ac93ALAWyyLlcUznOzM8kAXvawVBxuz1Y+o/G/JM3d3pvs5OgKOYyrLRsjGtxueDf917FjSM9pj28io/lzKInmLxfNsGtvuCsnUOoVSx3GqW2/H7ELiYlkbk5rSRr0RehtyANZNhxKqhPEswZR2a+U7TmDgNfqpKsbJtJ1UUbNzRfjtWSr9h0+jTGHy8/UqeTb6trkERF1Ggj2MpPyom/NKPIFZmQo7MHBavFr7y07Nwc7mQPZbzJbLMHBAZqIiAIiIAVZpezfeSebiq5XWaTuBPkkLbNaNzQPJAVqxXTZkUj/AJWOdyaSr60eNqrqsn1btX5LgOLtA9V6jKK20j54e/OJdvJdzN/dUoEXUWELpHQpS3nqpPljYwcXOJPoFzddf6FaW1NUSfNMG+DWD7rCfBz5T1UzoyLWYixBHQwOmlOgaGtHae86mtXFMRdIVVWFw6wwwnVDGc3R9TtblpjFsjKceVvlcHUcWdIsFE1zWObNUW+GJpuGnfI4auGtcPyhXvnlfLI7Oke4uce87B3BY6LfGKRK00RqXjkIirihc9zWtBc5xDWtGkknQAFkbia9EeRjNW9cR8ELC6+zrHfCByuV0jGlXZkce0nOPBur1VeC8ODJ1G1jrdYfzJ3fWRpF9wAso5lev6+Zz/06mj6RqVf6zkqFPYuZeP29zlx16+R3+0TCRZWTsnPncWstcC5voFlly4Ynb+jO4EFVOGPbOPdGLaJaV1cX2ykkzVIrtRSujNntLTa9ju3q0tLTT0zYmmtoL0FeIvD0zIsrzN1Sv53UiwxlOaZ7s92cxrdwuSdQuoip1haj6unaTrec88NgUz0p22Xpdz0vL8sjM9Vwqb0ts3CIit5XiI5bdnVoHysaOdz7qT0bbNCil8+tmO5+b/aAPZS6AfCEBcREQBERAWavskb7DmQPdXlZn1sH1jyufZXkAUM6WqnMya8fPJGzwzrn0UzXNemuqtBSx/NK5/g1v/JZR5N+Ot2ROSIiLpJ09XdeiqlzMmQn53SSc3aPRcJK+jcH0vVUFIzdAy/Ei59Vqs4OHNf/AIS+ZzTplykXVUMFzmMiD7b3vJ08hZc9U96Y6Mtro5LaHwAA97HEEeY5qBLOPBvx9elHQREWRvK4oi9wa0FzibNaBdxJ2ALsfR50efhLVFQAagj4GaxCD/5ei2mBcMUkEEU8DesdIwO699nP0jSBsbp3JiDEjruiju2xzXvOh3eG7uKj8zNhjw7pfk4HOeRL06/C92eYoy7nXhjOj9xw2/SFGURUTJyJ5FjnL8EzTTGmHbEmGDaPNjdIdbjYfxH+6kSiOT8WNiYxhiNmgC4PmsqpxfG6N4aHh5aQ240XPerPiZmLTQoKS8L7kHkY19lrk48s0GXKzrZ5HbAc1vALARFU7Juybm+WT8IqEVFexUxhcQBrJAHEqajCUJaLhwdYXIOs20laDC1H1lQCdTBn+OxTpWHpGHCdcp2RT3xv5ER1DIlCajB61yRyTBTNkjx3GxUhjYGgAagABwCqRTlONVS26462Rdl9lulN70EJRY+UJc2KR25jj/iV0GkieQvjle/e9x5uKmTBoCieFYtAKlwQBERAEREBZfpezuDj6D3V5WW6ZD3NA5kn2CvIAuP9NNVeppo/lhc48XO+wXYFwjpUqs/Kco+RkbP8bn1WdfJ2Ya3YRFERdBMFcMWc5jfmc1vNwHuvp2lizGMbua1vIAL50wpS9bXUjN87CeAOcfRfSC02EZnPzFES6S8N/jKNxYLzQ3lj3kAfGzxHouDr6lXBOkXDf4Ksdmi0Mt5YtwJPxM8D6pW/Y9wrf0P9iKoiLcSR1DoexLYvonnQbyQX3/rYPXmpTjDJliJmjQbNfx2O9lw6grXQSxyxmz2OD2nvB1cNi+iMl5QjyhRskGlkjPiHyu1ObxBUbn4qyKnD+PqcM28e5Wrh8kCRXqulMT3MdrabcdxWZTYfmkYJGNBadXxAHkVQ402Sk4xi21yialZCKUm1pmtRZsuRZ264n8QM4eSwljOuUPEk19fB7GcZf4vYREWBmXIahzNLXObwNlmR4gnb+448bFa9ZWTKTrZo2bC4X/iNa31TtUlGuTW/marIw03NInuSnvdCx0ml5Fzotr1eSy141tgB4L1X6Ee2KTe9FSk9tsLV4llzaWXvAb/c4BbRaHGMloGN+aVvkCVmYlvDMVmhSJajIMdmDgtugCIiAIiFAWYNbz9QHJo+5V5WaXs33ucf8iryAL5xxdVdbX1b987wODfh9l9GP1G2uxtxXz/lLBNcHyPdTSnOe5xLbP1uJ2LZWd+E0m22RxFlT5Lmj7cMrOLHD2WKdGvR5LeSieyWdF1Ln5Th+hsknJth6rvK470L02dV1Enywhvi5/8AxXYlos5IjMe7NfIKNdIGG/xtG9rR+cz82E7c4DS3xGjkpKiwT0csZOLTR8t28N479y8Uy6UMNfhasyMFoZrvG5sn62+/ioaulPa2T8JqcVJBdF6H8RmOZ9I8/BJd8W4SAaR4j0XOls8MzmOtpXDWKiPxu4C3mvJLaMbYKcGmdsxdkzOMT2j4i4RHvv2T6qQ0sAjY1g1NaByCqkiDrXF7EOHEaiq1GV40a7Z2r9WiHnc51xg/bZrcQVnVU7zqJGY3i5c/UjxnWXeyMamjOdxOryUcVX6td6mQ4riPj/pO9Pq7Kd/ELb4cySKiR2eCWNbpsbaTq0rUKc4Uo8yAOOt5z/DYtXTcdX3pSXheWZ5tzqqbXL4LMmDIjqdIO64Psr+ScONp5C8OLjm5ouLWvrW4RWuODjxkpxgk0QMsq6UXFy8BERdhzBRjGD7vp2d7nHyA91J1EsQOzqxjfljHmSUBvsksswcFnrGoW2aFkoAiIgCpkdYE911UrNYfgdwKA9phZjf4i/G2lXVZjqmHQHtPdcXV5AEREBS5gOsA8dKwqnINPJ24IXcWNvzss9EPU2uDX5Lw/BSl5giZEX2z80WvbUtgiIG2/LCIiHhosaYcFfSSRaBIPjicdkg1eB1eK+faukfC90cjXRyNNnMcLEH7L6fWtythynqv9eGOQ7HEWcP6hpWcZ6OvHyfS8Pg+bFOei/Cb6ipZUvaRTxHODiLZ8g7IbvA13XRqbo3oI3Zwp2uN7gOLnjkTZSSOINAa0BrRoDQLADcAFlKz4G63MUo6iipeOdYEnUBcr1Y+UKd0kT2NIaXC2drtvWibai2ltnBFJtJnPcoVXWyvfvcbcNnksdb6XB0w1Ojd4kLElw5UN/bJ4EFUW3EyduUoP+C0wyKdJRkjCpKcySMYNbnAffyXSoow1oaNQAA4BRTCuSXNmc+Rjm5rfhuLfEd3gparD0bHddbnJeW/siI6lcpzUVwv7CIimyLCIiAKHTnPrpTucG8mgKYqF5IOfPK7fI4/5FAS+nFmhXVTGNAVSAIiIArVQ27SrqICCZayO5ziRdattJUR9mSVvBzvuulPpwditOye07EBAY8tVjP3XH+QDvULJjxrVN7TIn/0lp8ipc/IzTsCxZMPNOwIDTRdIJHbg/td9ws2HH8B7TZWeAcPIr2XC7TsWHLhMbkBuYcXUrv3Q3ucHN9Qs+HKkT+zLE7g5v3UKlwodyw5cMOGxAdKDr6tK9XLxkyaPsukbwcQrzMo1keqaQ8fi9UB0pFz6PF9WzX1b+LbelllRdIEg7cDT/FxHkQgJuiisPSDEe3HK3hZ3uFnQ40pXfuFv8muHsgN4iwYMtwP7M0R/qAPIrMZIDqIPA3QFSIiAIiIAiIgCIiAtVUubG925jjyBKimFo9q3+IZc2lmP0W5m3utXhiKzQgJIF6iIAiIgCIiAIiIAiIgC8svUQFJjG5UGnB2K6iAxnUDTsVl+SWnYFnogNPJkBp2BYkuGWnYpGiAiEuFBuWFLhPuU8sqSwIDnMuFnDYsc5EkZ2S9vAkei6YYBuVt1E07EBztlRVx9maXgSSORWRHiisZrc1/8mj1FlN35LadgWPJkJp2BARqLHsw7cMbuBc37rNi6QmfrhkbwId9lmy4aadiw5cKjcgMyHHFM7W57P5NPtdZ0OIqd+qeLxOb6qMy4TWFLhU7kB0GOoa7sua7gQfRXFzB2Hnt1XHDQvWNqY+zLMP6j7oCZYwktT2+aRg87+yqw/HZg4KJNqKibNbK8vaHXFwL31awFN8kxZrBwQGwREQBERAEREAREQBERAEREAREQBERAEREAREQBERAEREAREQHhaFSYRuVaICw6kaditPya07FmIgMBuSmg6gsyNlgq0QBERAEREB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6" name="AutoShape 4" descr="data:image/jpeg;base64,/9j/4AAQSkZJRgABAQAAAQABAAD/2wCEAAkGBhQQEBASEhIPEBAWEBIQEA8UFRQPEBIQFBAVFBQQEhIXGyYeFxkjGRIUHy8gIycpLCwsFR4xNTAqNSYrLCkBCQoKDgwOGg8PGiklHyQtKTQpLDA1KiksLC0sLCw1NSwqLCwvLDQsLC0pLCotLCwsKSwsLCwsLCwsLCksLCwpKf/AABEIAMsA+AMBIgACEQEDEQH/xAAcAAEAAQUBAQAAAAAAAAAAAAAABgIDBAUHAQj/xAA+EAABAwIBCAgEBQMDBQAAAAABAAIDBBEGBRIhMUFRcZEHEzJhgaGxwSJSYtEUI0JDcoKSojPh4hVTwvDx/8QAGgEBAAIDAQAAAAAAAAAAAAAAAAUGAgMEAf/EACwRAAICAgEDAgUEAwEAAAAAAAABAgMEETEFEiETQVFhcaHxQoGRwTKx0SL/2gAMAwEAAhEDEQA/AO4oiIAiIgCK26oaDYkA/wDu1etlB1EHgQUBWiIgCIiAIiIAiIgCIiAIiIAiIgCIiAIiIAiIgCIiAIiIAiIgCIiAIi8KAt05vnHe8+QA9lW6IHWAeIBVukHwDvu7+4k+6vIC1+GbutwJb6J1O5zx439QVdRAWsx3zA8R9il3bmnxI8rK6iAtdadrHeFj7p+IG3OHFp9bK6qTIN45oCkTtP6m81cXhAO4+at/hm7gOHw+iAuorXUbi4eJPqnVu2O5gH0sgLqK18f0Hm37p1jtrT4EH1sgLqK11+8OHgT6L0VDfmHjo9UBcReB19WleoAiIgCIiAIiIAiIgCIiAIiIArdQ6zXHuPoris1XZtvIHNwCAuRtsANwA8lUiIAiKN40xnHk6K+h87geqivr+p25oXqWzKMXJ6RtMtZfho4+snkbG3YNbnHc1uslcyy70ySvJbSxtib/AN2T4nnvDdQ81BMr5Zlq5TLO8vedXytHytGwLCW5QS5JWrEjHzLyzbV2LKuc/mVM57g4sbybZa41b/nk/ud91aRZnWopcIzaXLc8RvHPOw9z3W5XspNknpXrIbB5ZUM2h4s+3c8KGIjSZjKuEuUd3w10l01YQwkwTH9t/ZJ3MfqKly+Wl0bAHSU6JzKarcXRGzY5jpdGdgedre/YtUofAj7sTS7ofwdfReNdcXGkawVRUzBjHOOoNJ5BaW0ltnAlt6Li8IXPP+uTZxIkeLkm17gX2WWVFiqdv6mu4tHsoSPW6Hymv4JN9Mt9mibGnaf0t5aea8/DjYXD+oqPZIxPJNKyMsZp1uFxYDbZSZSmPk15Ee6vg4bqZ0vtmWuqOx58QD7JZ+9p8CPcqzXZUjhzesdm31aCdSpiy1C7VKznb1WburUu1yW/hsxVU2u5J6MjPd8oPA/eyddva8eF/RVMna7U5p4EFVrYmnwYa0WvxLd9uN2+qra8HUQeGlVKh0LTra0+AXp4VorLoAATpFgTocQOV7Kikqg5o03NhfjZAZKIiAIiIArM+tg+q/JpKvKy7TI3ua4+YH3QF5ERAYmVcpMpoZJpDZjGlx3m2oDvK+dcu5akrJ3zyH4nHQ3Yxn6WDuC6P0z5aIZBStPaPWyD6WmzRzvyXKFvrXjZLYdWo979wiIth3BFvcL4Onyg8iIBsYNnzO7De4bz3LoNP0KwBvx1E7nbS0NYL9w0rFySNFl8IPTZyFF0HEfRFLAx0lM8ztAuYyLS2Hy20O4Ln5H/AMXqafBnCyM1uLPERF6bDsvRLigzwuppHXkhALCdJdCTYcjo5KR4vrMyAMGt7reA0lcYwDlM0+UaZ17Nc/qn/wAXi3rZdpxdT51PnbWuB8DoKi+pKSx59vw/P2I704wyot8N/f8AJCERFQCwkowXR/6kp/g31KlSwci0fVQRt22ueJ0q/XVIije8/paT47FesOpY+Ok/ZbZVcmbuubXx0iF4orOsqHAamDMHHWfNaheveSSTrJJPErxUq6122Sm/dlmqgq4KK9j1riNRIPdoXRsk05jhjaSS7NBcTpNzpKhGQaPraiNuwHOdwbp9V0JWDolL1K1/RER1SzzGC+oREVjIYxMqzZkErt0bvRaXDUhc0XWfimXNpZO/NbzcPssbDcVmBAb9ERAEREAVlnbd3NaPMlXlZg1vP1W5AD2KAvIiIDgnSdW9ZlOfcwMiA4NufMqKrZYkqetrKp++eTkHWHotaupcFgrWoJfILJydQOnmihZ2nvawd1za/hrWMpj0UUuflJhtcMikf42DQfNG9IWS7YuR2bImR2UkEcEYs1rbd7nbXHvJWciLlIBvb2wuHdK2RW09dnsFmzM6wgag8GzuetdxXHOmetDquCMEExwuLu4vdoB8B5rOvk6sNv1PBz1ERdBMmTk51poSNYmjI454X0Xl4XpZf4L58w7SmWrpmDSTMzkDc+QX0BiWTNpZNlwGjxIXDnNKmW/g/wDRw3+bq0vj/ZAVn5Co+tqI27Ac93ALAWyyLlcUznOzM8kAXvawVBxuz1Y+o/G/JM3d3pvs5OgKOYyrLRsjGtxueDf917FjSM9pj28io/lzKInmLxfNsGtvuCsnUOoVSx3GqW2/H7ELiYlkbk5rSRr0RehtyANZNhxKqhPEswZR2a+U7TmDgNfqpKsbJtJ1UUbNzRfjtWSr9h0+jTGHy8/UqeTb6trkERF1Ggj2MpPyom/NKPIFZmQo7MHBavFr7y07Nwc7mQPZbzJbLMHBAZqIiAIiIAVZpezfeSebiq5XWaTuBPkkLbNaNzQPJAVqxXTZkUj/AJWOdyaSr60eNqrqsn1btX5LgOLtA9V6jKK20j54e/OJdvJdzN/dUoEXUWELpHQpS3nqpPljYwcXOJPoFzddf6FaW1NUSfNMG+DWD7rCfBz5T1UzoyLWYixBHQwOmlOgaGtHae86mtXFMRdIVVWFw6wwwnVDGc3R9TtblpjFsjKceVvlcHUcWdIsFE1zWObNUW+GJpuGnfI4auGtcPyhXvnlfLI7Oke4uce87B3BY6LfGKRK00RqXjkIirihc9zWtBc5xDWtGkknQAFkbia9EeRjNW9cR8ELC6+zrHfCByuV0jGlXZkce0nOPBur1VeC8ODJ1G1jrdYfzJ3fWRpF9wAso5lev6+Zz/06mj6RqVf6zkqFPYuZeP29zlx16+R3+0TCRZWTsnPncWstcC5voFlly4Ynb+jO4EFVOGPbOPdGLaJaV1cX2ykkzVIrtRSujNntLTa9ju3q0tLTT0zYmmtoL0FeIvD0zIsrzN1Sv53UiwxlOaZ7s92cxrdwuSdQuoip1haj6unaTrec88NgUz0p22Xpdz0vL8sjM9Vwqb0ts3CIit5XiI5bdnVoHysaOdz7qT0bbNCil8+tmO5+b/aAPZS6AfCEBcREQBERAWavskb7DmQPdXlZn1sH1jyufZXkAUM6WqnMya8fPJGzwzrn0UzXNemuqtBSx/NK5/g1v/JZR5N+Ot2ROSIiLpJ09XdeiqlzMmQn53SSc3aPRcJK+jcH0vVUFIzdAy/Ei59Vqs4OHNf/AIS+ZzTplykXVUMFzmMiD7b3vJ08hZc9U96Y6Mtro5LaHwAA97HEEeY5qBLOPBvx9elHQREWRvK4oi9wa0FzibNaBdxJ2ALsfR50efhLVFQAagj4GaxCD/5ei2mBcMUkEEU8DesdIwO699nP0jSBsbp3JiDEjruiju2xzXvOh3eG7uKj8zNhjw7pfk4HOeRL06/C92eYoy7nXhjOj9xw2/SFGURUTJyJ5FjnL8EzTTGmHbEmGDaPNjdIdbjYfxH+6kSiOT8WNiYxhiNmgC4PmsqpxfG6N4aHh5aQ240XPerPiZmLTQoKS8L7kHkY19lrk48s0GXKzrZ5HbAc1vALARFU7Juybm+WT8IqEVFexUxhcQBrJAHEqajCUJaLhwdYXIOs20laDC1H1lQCdTBn+OxTpWHpGHCdcp2RT3xv5ER1DIlCajB61yRyTBTNkjx3GxUhjYGgAagABwCqRTlONVS26462Rdl9lulN70EJRY+UJc2KR25jj/iV0GkieQvjle/e9x5uKmTBoCieFYtAKlwQBERAEREBZfpezuDj6D3V5WW6ZD3NA5kn2CvIAuP9NNVeppo/lhc48XO+wXYFwjpUqs/Kco+RkbP8bn1WdfJ2Ya3YRFERdBMFcMWc5jfmc1vNwHuvp2lizGMbua1vIAL50wpS9bXUjN87CeAOcfRfSC02EZnPzFES6S8N/jKNxYLzQ3lj3kAfGzxHouDr6lXBOkXDf4Ksdmi0Mt5YtwJPxM8D6pW/Y9wrf0P9iKoiLcSR1DoexLYvonnQbyQX3/rYPXmpTjDJliJmjQbNfx2O9lw6grXQSxyxmz2OD2nvB1cNi+iMl5QjyhRskGlkjPiHyu1ObxBUbn4qyKnD+PqcM28e5Wrh8kCRXqulMT3MdrabcdxWZTYfmkYJGNBadXxAHkVQ402Sk4xi21yialZCKUm1pmtRZsuRZ264n8QM4eSwljOuUPEk19fB7GcZf4vYREWBmXIahzNLXObwNlmR4gnb+448bFa9ZWTKTrZo2bC4X/iNa31TtUlGuTW/marIw03NInuSnvdCx0ml5Fzotr1eSy141tgB4L1X6Ee2KTe9FSk9tsLV4llzaWXvAb/c4BbRaHGMloGN+aVvkCVmYlvDMVmhSJajIMdmDgtugCIiAIiFAWYNbz9QHJo+5V5WaXs33ucf8iryAL5xxdVdbX1b987wODfh9l9GP1G2uxtxXz/lLBNcHyPdTSnOe5xLbP1uJ2LZWd+E0m22RxFlT5Lmj7cMrOLHD2WKdGvR5LeSieyWdF1Ln5Th+hsknJth6rvK470L02dV1Enywhvi5/8AxXYlos5IjMe7NfIKNdIGG/xtG9rR+cz82E7c4DS3xGjkpKiwT0csZOLTR8t28N479y8Uy6UMNfhasyMFoZrvG5sn62+/ioaulPa2T8JqcVJBdF6H8RmOZ9I8/BJd8W4SAaR4j0XOls8MzmOtpXDWKiPxu4C3mvJLaMbYKcGmdsxdkzOMT2j4i4RHvv2T6qQ0sAjY1g1NaByCqkiDrXF7EOHEaiq1GV40a7Z2r9WiHnc51xg/bZrcQVnVU7zqJGY3i5c/UjxnWXeyMamjOdxOryUcVX6td6mQ4riPj/pO9Pq7Kd/ELb4cySKiR2eCWNbpsbaTq0rUKc4Uo8yAOOt5z/DYtXTcdX3pSXheWZ5tzqqbXL4LMmDIjqdIO64Psr+ScONp5C8OLjm5ouLWvrW4RWuODjxkpxgk0QMsq6UXFy8BERdhzBRjGD7vp2d7nHyA91J1EsQOzqxjfljHmSUBvsksswcFnrGoW2aFkoAiIgCpkdYE911UrNYfgdwKA9phZjf4i/G2lXVZjqmHQHtPdcXV5AEREBS5gOsA8dKwqnINPJ24IXcWNvzss9EPU2uDX5Lw/BSl5giZEX2z80WvbUtgiIG2/LCIiHhosaYcFfSSRaBIPjicdkg1eB1eK+faukfC90cjXRyNNnMcLEH7L6fWtythynqv9eGOQ7HEWcP6hpWcZ6OvHyfS8Pg+bFOei/Cb6ipZUvaRTxHODiLZ8g7IbvA13XRqbo3oI3Zwp2uN7gOLnjkTZSSOINAa0BrRoDQLADcAFlKz4G63MUo6iipeOdYEnUBcr1Y+UKd0kT2NIaXC2drtvWibai2ltnBFJtJnPcoVXWyvfvcbcNnksdb6XB0w1Ojd4kLElw5UN/bJ4EFUW3EyduUoP+C0wyKdJRkjCpKcySMYNbnAffyXSoow1oaNQAA4BRTCuSXNmc+Rjm5rfhuLfEd3gparD0bHddbnJeW/siI6lcpzUVwv7CIimyLCIiAKHTnPrpTucG8mgKYqF5IOfPK7fI4/5FAS+nFmhXVTGNAVSAIiIArVQ27SrqICCZayO5ziRdattJUR9mSVvBzvuulPpwditOye07EBAY8tVjP3XH+QDvULJjxrVN7TIn/0lp8ipc/IzTsCxZMPNOwIDTRdIJHbg/td9ws2HH8B7TZWeAcPIr2XC7TsWHLhMbkBuYcXUrv3Q3ucHN9Qs+HKkT+zLE7g5v3UKlwodyw5cMOGxAdKDr6tK9XLxkyaPsukbwcQrzMo1keqaQ8fi9UB0pFz6PF9WzX1b+LbelllRdIEg7cDT/FxHkQgJuiisPSDEe3HK3hZ3uFnQ40pXfuFv8muHsgN4iwYMtwP7M0R/qAPIrMZIDqIPA3QFSIiAIiIAiIgCIiAtVUubG925jjyBKimFo9q3+IZc2lmP0W5m3utXhiKzQgJIF6iIAiIgCIiAIiIAiIgC8svUQFJjG5UGnB2K6iAxnUDTsVl+SWnYFnogNPJkBp2BYkuGWnYpGiAiEuFBuWFLhPuU8sqSwIDnMuFnDYsc5EkZ2S9vAkei6YYBuVt1E07EBztlRVx9maXgSSORWRHiisZrc1/8mj1FlN35LadgWPJkJp2BARqLHsw7cMbuBc37rNi6QmfrhkbwId9lmy4aadiw5cKjcgMyHHFM7W57P5NPtdZ0OIqd+qeLxOb6qMy4TWFLhU7kB0GOoa7sua7gQfRXFzB2Hnt1XHDQvWNqY+zLMP6j7oCZYwktT2+aRg87+yqw/HZg4KJNqKibNbK8vaHXFwL31awFN8kxZrBwQGwREQBERAEREAREQBERAEREAREQBERAEREAREQBERAEREAREQHhaFSYRuVaICw6kaditPya07FmIgMBuSmg6gsyNlgq0QBERAEREB//9k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3074" name="Picture 2" descr="http://simpleicon.com/wp-content/uploads/stopwatch-1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262787" y="1196752"/>
            <a:ext cx="765597" cy="765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ZoneTexte 6"/>
          <p:cNvSpPr txBox="1"/>
          <p:nvPr/>
        </p:nvSpPr>
        <p:spPr>
          <a:xfrm>
            <a:off x="8020490" y="1287162"/>
            <a:ext cx="74236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dirty="0" smtClean="0"/>
              <a:t>10’</a:t>
            </a:r>
            <a:endParaRPr lang="fr-FR" sz="3200" dirty="0"/>
          </a:p>
        </p:txBody>
      </p:sp>
      <p:pic>
        <p:nvPicPr>
          <p:cNvPr id="4098" name="Picture 2" descr="http://www.fisher-price.com/img/product_shots/L6485-Cash-Register-b-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3200" y="2025824"/>
            <a:ext cx="2277591" cy="22775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ZoneTexte 9"/>
          <p:cNvSpPr txBox="1"/>
          <p:nvPr/>
        </p:nvSpPr>
        <p:spPr>
          <a:xfrm>
            <a:off x="395536" y="4221088"/>
            <a:ext cx="310753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5088" lvl="1">
              <a:buSzPct val="100000"/>
            </a:pPr>
            <a:r>
              <a:rPr lang="fr-FR" sz="2000" b="1" dirty="0" smtClean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ests</a:t>
            </a:r>
            <a:endParaRPr lang="fr-FR" sz="2000" b="1" dirty="0">
              <a:solidFill>
                <a:schemeClr val="accent5">
                  <a:lumMod val="75000"/>
                </a:schemeClr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65088" lvl="1">
              <a:buSzPct val="100000"/>
            </a:pP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 err="1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Apples</a:t>
            </a:r>
            <a:r>
              <a:rPr lang="fr-FR" sz="2000" b="1" dirty="0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-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100 </a:t>
            </a:r>
          </a:p>
          <a:p>
            <a:pPr marL="65088" lvl="1">
              <a:buSzPct val="100000"/>
            </a:pP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Cherries-&gt; 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175 </a:t>
            </a:r>
          </a:p>
          <a:p>
            <a:pPr marL="65088" lvl="1">
              <a:buSzPct val="100000"/>
            </a:pP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 smtClean="0"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Cherries-</a:t>
            </a:r>
            <a:r>
              <a:rPr lang="fr-FR" sz="2000" b="1" dirty="0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250</a:t>
            </a:r>
            <a:r>
              <a:rPr lang="fr-FR" sz="2000" b="1" dirty="0">
                <a:solidFill>
                  <a:schemeClr val="tx1"/>
                </a:solidFill>
                <a:latin typeface="Consolas" panose="020B06090202040302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 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3995936" y="4221227"/>
            <a:ext cx="350513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5088" lvl="1">
              <a:buSzPct val="100000"/>
            </a:pPr>
            <a:r>
              <a:rPr lang="fr-FR" sz="2000" b="1" dirty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Tests </a:t>
            </a:r>
            <a:r>
              <a:rPr lang="fr-FR" sz="2000" b="1" dirty="0" smtClean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2</a:t>
            </a:r>
            <a:endParaRPr lang="fr-FR" sz="2000" b="1" dirty="0">
              <a:solidFill>
                <a:schemeClr val="accent5">
                  <a:lumMod val="75000"/>
                </a:schemeClr>
              </a:solidFill>
              <a:latin typeface="Consolas" panose="020B0609020204030204" pitchFamily="49" charset="0"/>
              <a:ea typeface="Anonymous Pro" panose="02060609030202000504" pitchFamily="49" charset="0"/>
              <a:cs typeface="Consolas" panose="020B0609020204030204" pitchFamily="49" charset="0"/>
            </a:endParaRPr>
          </a:p>
          <a:p>
            <a:pPr marL="65088" lvl="1">
              <a:buSzPct val="100000"/>
            </a:pP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Cherries- -&gt; 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75 </a:t>
            </a:r>
          </a:p>
          <a:p>
            <a:pPr marL="65088" lvl="1">
              <a:buSzPct val="100000"/>
            </a:pP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 err="1"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Apples</a:t>
            </a:r>
            <a:r>
              <a:rPr lang="fr-FR" sz="2000" b="1" dirty="0"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- -&gt; 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175 </a:t>
            </a:r>
          </a:p>
          <a:p>
            <a:pPr marL="65088" lvl="1">
              <a:buSzPct val="100000"/>
            </a:pP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Cherries- -&gt; 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250 </a:t>
            </a:r>
          </a:p>
          <a:p>
            <a:pPr marL="65088" lvl="1">
              <a:buSzPct val="100000"/>
            </a:pP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Bananas 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-&gt; 400 </a:t>
            </a:r>
          </a:p>
          <a:p>
            <a:pPr marL="65088" lvl="1">
              <a:buSzPct val="100000"/>
            </a:pP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 err="1"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Apples</a:t>
            </a:r>
            <a:r>
              <a:rPr lang="fr-FR" sz="2000" b="1" dirty="0"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- </a:t>
            </a:r>
            <a:r>
              <a:rPr lang="fr-FR" sz="2000" b="1" dirty="0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-&gt; 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500</a:t>
            </a:r>
            <a:r>
              <a:rPr lang="fr-FR" sz="2000" b="1" dirty="0">
                <a:solidFill>
                  <a:schemeClr val="tx1"/>
                </a:solidFill>
                <a:latin typeface="Consolas" panose="020B06090202040302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304398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395536" y="2132856"/>
            <a:ext cx="6157664" cy="4392488"/>
          </a:xfrm>
        </p:spPr>
        <p:txBody>
          <a:bodyPr/>
          <a:lstStyle/>
          <a:p>
            <a:r>
              <a:rPr lang="en-US" sz="2400" dirty="0" smtClean="0"/>
              <a:t>Goal : Manage offers</a:t>
            </a:r>
          </a:p>
          <a:p>
            <a:r>
              <a:rPr lang="en-US" sz="2400" dirty="0" smtClean="0"/>
              <a:t>For 2 pack of cherries, get a 20 cents discount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FC98-F726-4387-BD61-63831D042500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460375" y="1161913"/>
            <a:ext cx="8229600" cy="782960"/>
          </a:xfrm>
        </p:spPr>
        <p:txBody>
          <a:bodyPr/>
          <a:lstStyle/>
          <a:p>
            <a:r>
              <a:rPr lang="fr-FR" sz="3600" dirty="0" err="1" smtClean="0"/>
              <a:t>Iteration</a:t>
            </a:r>
            <a:r>
              <a:rPr lang="fr-FR" sz="3600" dirty="0" smtClean="0"/>
              <a:t> 2</a:t>
            </a:r>
            <a:r>
              <a:rPr lang="fr-FR" sz="1800" dirty="0"/>
              <a:t/>
            </a:r>
            <a:br>
              <a:rPr lang="fr-FR" sz="1800" dirty="0"/>
            </a:br>
            <a:endParaRPr lang="fr-FR" sz="1800" dirty="0"/>
          </a:p>
        </p:txBody>
      </p:sp>
      <p:sp>
        <p:nvSpPr>
          <p:cNvPr id="5" name="AutoShape 2" descr="data:image/jpeg;base64,/9j/4AAQSkZJRgABAQAAAQABAAD/2wCEAAkGBhQQEBASEhIPEBAWEBIQEA8UFRQPEBIQFBAVFBQQEhIXGyYeFxkjGRIUHy8gIycpLCwsFR4xNTAqNSYrLCkBCQoKDgwOGg8PGiklHyQtKTQpLDA1KiksLC0sLCw1NSwqLCwvLDQsLC0pLCotLCwsKSwsLCwsLCwsLCksLCwpKf/AABEIAMsA+AMBIgACEQEDEQH/xAAcAAEAAQUBAQAAAAAAAAAAAAAABgIDBAUHAQj/xAA+EAABAwIBCAgEBQMDBQAAAAABAAIDBBEGBRIhMUFRcZEHEzJhgaGxwSJSYtEUI0JDcoKSojPh4hVTwvDx/8QAGgEBAAIDAQAAAAAAAAAAAAAAAAUGAgMEAf/EACwRAAICAgEDAgUEAwEAAAAAAAABAgMEETEFEiETQVFhcaHxQoGRwTKx0SL/2gAMAwEAAhEDEQA/AO4oiIAiIgCK26oaDYkA/wDu1etlB1EHgQUBWiIgCIiAIiIAiIgCIiAIiIAiIgCIiAIiIAiIgCIiAIiIAiIgCIiAIi8KAt05vnHe8+QA9lW6IHWAeIBVukHwDvu7+4k+6vIC1+GbutwJb6J1O5zx439QVdRAWsx3zA8R9il3bmnxI8rK6iAtdadrHeFj7p+IG3OHFp9bK6qTIN45oCkTtP6m81cXhAO4+at/hm7gOHw+iAuorXUbi4eJPqnVu2O5gH0sgLqK18f0Hm37p1jtrT4EH1sgLqK11+8OHgT6L0VDfmHjo9UBcReB19WleoAiIgCIiAIiIAiIgCIiAIiIArdQ6zXHuPoris1XZtvIHNwCAuRtsANwA8lUiIAiKN40xnHk6K+h87geqivr+p25oXqWzKMXJ6RtMtZfho4+snkbG3YNbnHc1uslcyy70ySvJbSxtib/AN2T4nnvDdQ81BMr5Zlq5TLO8vedXytHytGwLCW5QS5JWrEjHzLyzbV2LKuc/mVM57g4sbybZa41b/nk/ud91aRZnWopcIzaXLc8RvHPOw9z3W5XspNknpXrIbB5ZUM2h4s+3c8KGIjSZjKuEuUd3w10l01YQwkwTH9t/ZJ3MfqKly+Wl0bAHSU6JzKarcXRGzY5jpdGdgedre/YtUofAj7sTS7ofwdfReNdcXGkawVRUzBjHOOoNJ5BaW0ltnAlt6Li8IXPP+uTZxIkeLkm17gX2WWVFiqdv6mu4tHsoSPW6Hymv4JN9Mt9mibGnaf0t5aea8/DjYXD+oqPZIxPJNKyMsZp1uFxYDbZSZSmPk15Ee6vg4bqZ0vtmWuqOx58QD7JZ+9p8CPcqzXZUjhzesdm31aCdSpiy1C7VKznb1WburUu1yW/hsxVU2u5J6MjPd8oPA/eyddva8eF/RVMna7U5p4EFVrYmnwYa0WvxLd9uN2+qra8HUQeGlVKh0LTra0+AXp4VorLoAATpFgTocQOV7Kikqg5o03NhfjZAZKIiAIiIArM+tg+q/JpKvKy7TI3ua4+YH3QF5ERAYmVcpMpoZJpDZjGlx3m2oDvK+dcu5akrJ3zyH4nHQ3Yxn6WDuC6P0z5aIZBStPaPWyD6WmzRzvyXKFvrXjZLYdWo979wiIth3BFvcL4Onyg8iIBsYNnzO7De4bz3LoNP0KwBvx1E7nbS0NYL9w0rFySNFl8IPTZyFF0HEfRFLAx0lM8ztAuYyLS2Hy20O4Ln5H/AMXqafBnCyM1uLPERF6bDsvRLigzwuppHXkhALCdJdCTYcjo5KR4vrMyAMGt7reA0lcYwDlM0+UaZ17Nc/qn/wAXi3rZdpxdT51PnbWuB8DoKi+pKSx59vw/P2I704wyot8N/f8AJCERFQCwkowXR/6kp/g31KlSwci0fVQRt22ueJ0q/XVIije8/paT47FesOpY+Ok/ZbZVcmbuubXx0iF4orOsqHAamDMHHWfNaheveSSTrJJPErxUq6122Sm/dlmqgq4KK9j1riNRIPdoXRsk05jhjaSS7NBcTpNzpKhGQaPraiNuwHOdwbp9V0JWDolL1K1/RER1SzzGC+oREVjIYxMqzZkErt0bvRaXDUhc0XWfimXNpZO/NbzcPssbDcVmBAb9ERAEREAVlnbd3NaPMlXlZg1vP1W5AD2KAvIiIDgnSdW9ZlOfcwMiA4NufMqKrZYkqetrKp++eTkHWHotaupcFgrWoJfILJydQOnmihZ2nvawd1za/hrWMpj0UUuflJhtcMikf42DQfNG9IWS7YuR2bImR2UkEcEYs1rbd7nbXHvJWciLlIBvb2wuHdK2RW09dnsFmzM6wgag8GzuetdxXHOmetDquCMEExwuLu4vdoB8B5rOvk6sNv1PBz1ERdBMmTk51poSNYmjI454X0Xl4XpZf4L58w7SmWrpmDSTMzkDc+QX0BiWTNpZNlwGjxIXDnNKmW/g/wDRw3+bq0vj/ZAVn5Co+tqI27Ac93ALAWyyLlcUznOzM8kAXvawVBxuz1Y+o/G/JM3d3pvs5OgKOYyrLRsjGtxueDf917FjSM9pj28io/lzKInmLxfNsGtvuCsnUOoVSx3GqW2/H7ELiYlkbk5rSRr0RehtyANZNhxKqhPEswZR2a+U7TmDgNfqpKsbJtJ1UUbNzRfjtWSr9h0+jTGHy8/UqeTb6trkERF1Ggj2MpPyom/NKPIFZmQo7MHBavFr7y07Nwc7mQPZbzJbLMHBAZqIiAIiIAVZpezfeSebiq5XWaTuBPkkLbNaNzQPJAVqxXTZkUj/AJWOdyaSr60eNqrqsn1btX5LgOLtA9V6jKK20j54e/OJdvJdzN/dUoEXUWELpHQpS3nqpPljYwcXOJPoFzddf6FaW1NUSfNMG+DWD7rCfBz5T1UzoyLWYixBHQwOmlOgaGtHae86mtXFMRdIVVWFw6wwwnVDGc3R9TtblpjFsjKceVvlcHUcWdIsFE1zWObNUW+GJpuGnfI4auGtcPyhXvnlfLI7Oke4uce87B3BY6LfGKRK00RqXjkIirihc9zWtBc5xDWtGkknQAFkbia9EeRjNW9cR8ELC6+zrHfCByuV0jGlXZkce0nOPBur1VeC8ODJ1G1jrdYfzJ3fWRpF9wAso5lev6+Zz/06mj6RqVf6zkqFPYuZeP29zlx16+R3+0TCRZWTsnPncWstcC5voFlly4Ynb+jO4EFVOGPbOPdGLaJaV1cX2ykkzVIrtRSujNntLTa9ju3q0tLTT0zYmmtoL0FeIvD0zIsrzN1Sv53UiwxlOaZ7s92cxrdwuSdQuoip1haj6unaTrec88NgUz0p22Xpdz0vL8sjM9Vwqb0ts3CIit5XiI5bdnVoHysaOdz7qT0bbNCil8+tmO5+b/aAPZS6AfCEBcREQBERAWavskb7DmQPdXlZn1sH1jyufZXkAUM6WqnMya8fPJGzwzrn0UzXNemuqtBSx/NK5/g1v/JZR5N+Ot2ROSIiLpJ09XdeiqlzMmQn53SSc3aPRcJK+jcH0vVUFIzdAy/Ei59Vqs4OHNf/AIS+ZzTplykXVUMFzmMiD7b3vJ08hZc9U96Y6Mtro5LaHwAA97HEEeY5qBLOPBvx9elHQREWRvK4oi9wa0FzibNaBdxJ2ALsfR50efhLVFQAagj4GaxCD/5ei2mBcMUkEEU8DesdIwO699nP0jSBsbp3JiDEjruiju2xzXvOh3eG7uKj8zNhjw7pfk4HOeRL06/C92eYoy7nXhjOj9xw2/SFGURUTJyJ5FjnL8EzTTGmHbEmGDaPNjdIdbjYfxH+6kSiOT8WNiYxhiNmgC4PmsqpxfG6N4aHh5aQ240XPerPiZmLTQoKS8L7kHkY19lrk48s0GXKzrZ5HbAc1vALARFU7Juybm+WT8IqEVFexUxhcQBrJAHEqajCUJaLhwdYXIOs20laDC1H1lQCdTBn+OxTpWHpGHCdcp2RT3xv5ER1DIlCajB61yRyTBTNkjx3GxUhjYGgAagABwCqRTlONVS26462Rdl9lulN70EJRY+UJc2KR25jj/iV0GkieQvjle/e9x5uKmTBoCieFYtAKlwQBERAEREBZfpezuDj6D3V5WW6ZD3NA5kn2CvIAuP9NNVeppo/lhc48XO+wXYFwjpUqs/Kco+RkbP8bn1WdfJ2Ya3YRFERdBMFcMWc5jfmc1vNwHuvp2lizGMbua1vIAL50wpS9bXUjN87CeAOcfRfSC02EZnPzFES6S8N/jKNxYLzQ3lj3kAfGzxHouDr6lXBOkXDf4Ksdmi0Mt5YtwJPxM8D6pW/Y9wrf0P9iKoiLcSR1DoexLYvonnQbyQX3/rYPXmpTjDJliJmjQbNfx2O9lw6grXQSxyxmz2OD2nvB1cNi+iMl5QjyhRskGlkjPiHyu1ObxBUbn4qyKnD+PqcM28e5Wrh8kCRXqulMT3MdrabcdxWZTYfmkYJGNBadXxAHkVQ402Sk4xi21yialZCKUm1pmtRZsuRZ264n8QM4eSwljOuUPEk19fB7GcZf4vYREWBmXIahzNLXObwNlmR4gnb+448bFa9ZWTKTrZo2bC4X/iNa31TtUlGuTW/marIw03NInuSnvdCx0ml5Fzotr1eSy141tgB4L1X6Ee2KTe9FSk9tsLV4llzaWXvAb/c4BbRaHGMloGN+aVvkCVmYlvDMVmhSJajIMdmDgtugCIiAIiFAWYNbz9QHJo+5V5WaXs33ucf8iryAL5xxdVdbX1b987wODfh9l9GP1G2uxtxXz/lLBNcHyPdTSnOe5xLbP1uJ2LZWd+E0m22RxFlT5Lmj7cMrOLHD2WKdGvR5LeSieyWdF1Ln5Th+hsknJth6rvK470L02dV1Enywhvi5/8AxXYlos5IjMe7NfIKNdIGG/xtG9rR+cz82E7c4DS3xGjkpKiwT0csZOLTR8t28N479y8Uy6UMNfhasyMFoZrvG5sn62+/ioaulPa2T8JqcVJBdF6H8RmOZ9I8/BJd8W4SAaR4j0XOls8MzmOtpXDWKiPxu4C3mvJLaMbYKcGmdsxdkzOMT2j4i4RHvv2T6qQ0sAjY1g1NaByCqkiDrXF7EOHEaiq1GV40a7Z2r9WiHnc51xg/bZrcQVnVU7zqJGY3i5c/UjxnWXeyMamjOdxOryUcVX6td6mQ4riPj/pO9Pq7Kd/ELb4cySKiR2eCWNbpsbaTq0rUKc4Uo8yAOOt5z/DYtXTcdX3pSXheWZ5tzqqbXL4LMmDIjqdIO64Psr+ScONp5C8OLjm5ouLWvrW4RWuODjxkpxgk0QMsq6UXFy8BERdhzBRjGD7vp2d7nHyA91J1EsQOzqxjfljHmSUBvsksswcFnrGoW2aFkoAiIgCpkdYE911UrNYfgdwKA9phZjf4i/G2lXVZjqmHQHtPdcXV5AEREBS5gOsA8dKwqnINPJ24IXcWNvzss9EPU2uDX5Lw/BSl5giZEX2z80WvbUtgiIG2/LCIiHhosaYcFfSSRaBIPjicdkg1eB1eK+faukfC90cjXRyNNnMcLEH7L6fWtythynqv9eGOQ7HEWcP6hpWcZ6OvHyfS8Pg+bFOei/Cb6ipZUvaRTxHODiLZ8g7IbvA13XRqbo3oI3Zwp2uN7gOLnjkTZSSOINAa0BrRoDQLADcAFlKz4G63MUo6iipeOdYEnUBcr1Y+UKd0kT2NIaXC2drtvWibai2ltnBFJtJnPcoVXWyvfvcbcNnksdb6XB0w1Ojd4kLElw5UN/bJ4EFUW3EyduUoP+C0wyKdJRkjCpKcySMYNbnAffyXSoow1oaNQAA4BRTCuSXNmc+Rjm5rfhuLfEd3gparD0bHddbnJeW/siI6lcpzUVwv7CIimyLCIiAKHTnPrpTucG8mgKYqF5IOfPK7fI4/5FAS+nFmhXVTGNAVSAIiIArVQ27SrqICCZayO5ziRdattJUR9mSVvBzvuulPpwditOye07EBAY8tVjP3XH+QDvULJjxrVN7TIn/0lp8ipc/IzTsCxZMPNOwIDTRdIJHbg/td9ws2HH8B7TZWeAcPIr2XC7TsWHLhMbkBuYcXUrv3Q3ucHN9Qs+HKkT+zLE7g5v3UKlwodyw5cMOGxAdKDr6tK9XLxkyaPsukbwcQrzMo1keqaQ8fi9UB0pFz6PF9WzX1b+LbelllRdIEg7cDT/FxHkQgJuiisPSDEe3HK3hZ3uFnQ40pXfuFv8muHsgN4iwYMtwP7M0R/qAPIrMZIDqIPA3QFSIiAIiIAiIgCIiAtVUubG925jjyBKimFo9q3+IZc2lmP0W5m3utXhiKzQgJIF6iIAiIgCIiAIiIAiIgC8svUQFJjG5UGnB2K6iAxnUDTsVl+SWnYFnogNPJkBp2BYkuGWnYpGiAiEuFBuWFLhPuU8sqSwIDnMuFnDYsc5EkZ2S9vAkei6YYBuVt1E07EBztlRVx9maXgSSORWRHiisZrc1/8mj1FlN35LadgWPJkJp2BARqLHsw7cMbuBc37rNi6QmfrhkbwId9lmy4aadiw5cKjcgMyHHFM7W57P5NPtdZ0OIqd+qeLxOb6qMy4TWFLhU7kB0GOoa7sua7gQfRXFzB2Hnt1XHDQvWNqY+zLMP6j7oCZYwktT2+aRg87+yqw/HZg4KJNqKibNbK8vaHXFwL31awFN8kxZrBwQGwREQBERAEREAREQBERAEREAREQBERAEREAREQBERAEREAREQHhaFSYRuVaICw6kaditPya07FmIgMBuSmg6gsyNlgq0QBERAEREB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6" name="AutoShape 4" descr="data:image/jpeg;base64,/9j/4AAQSkZJRgABAQAAAQABAAD/2wCEAAkGBhQQEBASEhIPEBAWEBIQEA8UFRQPEBIQFBAVFBQQEhIXGyYeFxkjGRIUHy8gIycpLCwsFR4xNTAqNSYrLCkBCQoKDgwOGg8PGiklHyQtKTQpLDA1KiksLC0sLCw1NSwqLCwvLDQsLC0pLCotLCwsKSwsLCwsLCwsLCksLCwpKf/AABEIAMsA+AMBIgACEQEDEQH/xAAcAAEAAQUBAQAAAAAAAAAAAAAABgIDBAUHAQj/xAA+EAABAwIBCAgEBQMDBQAAAAABAAIDBBEGBRIhMUFRcZEHEzJhgaGxwSJSYtEUI0JDcoKSojPh4hVTwvDx/8QAGgEBAAIDAQAAAAAAAAAAAAAAAAUGAgMEAf/EACwRAAICAgEDAgUEAwEAAAAAAAABAgMEETEFEiETQVFhcaHxQoGRwTKx0SL/2gAMAwEAAhEDEQA/AO4oiIAiIgCK26oaDYkA/wDu1etlB1EHgQUBWiIgCIiAIiIAiIgCIiAIiIAiIgCIiAIiIAiIgCIiAIiIAiIgCIiAIi8KAt05vnHe8+QA9lW6IHWAeIBVukHwDvu7+4k+6vIC1+GbutwJb6J1O5zx439QVdRAWsx3zA8R9il3bmnxI8rK6iAtdadrHeFj7p+IG3OHFp9bK6qTIN45oCkTtP6m81cXhAO4+at/hm7gOHw+iAuorXUbi4eJPqnVu2O5gH0sgLqK18f0Hm37p1jtrT4EH1sgLqK11+8OHgT6L0VDfmHjo9UBcReB19WleoAiIgCIiAIiIAiIgCIiAIiIArdQ6zXHuPoris1XZtvIHNwCAuRtsANwA8lUiIAiKN40xnHk6K+h87geqivr+p25oXqWzKMXJ6RtMtZfho4+snkbG3YNbnHc1uslcyy70ySvJbSxtib/AN2T4nnvDdQ81BMr5Zlq5TLO8vedXytHytGwLCW5QS5JWrEjHzLyzbV2LKuc/mVM57g4sbybZa41b/nk/ud91aRZnWopcIzaXLc8RvHPOw9z3W5XspNknpXrIbB5ZUM2h4s+3c8KGIjSZjKuEuUd3w10l01YQwkwTH9t/ZJ3MfqKly+Wl0bAHSU6JzKarcXRGzY5jpdGdgedre/YtUofAj7sTS7ofwdfReNdcXGkawVRUzBjHOOoNJ5BaW0ltnAlt6Li8IXPP+uTZxIkeLkm17gX2WWVFiqdv6mu4tHsoSPW6Hymv4JN9Mt9mibGnaf0t5aea8/DjYXD+oqPZIxPJNKyMsZp1uFxYDbZSZSmPk15Ee6vg4bqZ0vtmWuqOx58QD7JZ+9p8CPcqzXZUjhzesdm31aCdSpiy1C7VKznb1WburUu1yW/hsxVU2u5J6MjPd8oPA/eyddva8eF/RVMna7U5p4EFVrYmnwYa0WvxLd9uN2+qra8HUQeGlVKh0LTra0+AXp4VorLoAATpFgTocQOV7Kikqg5o03NhfjZAZKIiAIiIArM+tg+q/JpKvKy7TI3ua4+YH3QF5ERAYmVcpMpoZJpDZjGlx3m2oDvK+dcu5akrJ3zyH4nHQ3Yxn6WDuC6P0z5aIZBStPaPWyD6WmzRzvyXKFvrXjZLYdWo979wiIth3BFvcL4Onyg8iIBsYNnzO7De4bz3LoNP0KwBvx1E7nbS0NYL9w0rFySNFl8IPTZyFF0HEfRFLAx0lM8ztAuYyLS2Hy20O4Ln5H/AMXqafBnCyM1uLPERF6bDsvRLigzwuppHXkhALCdJdCTYcjo5KR4vrMyAMGt7reA0lcYwDlM0+UaZ17Nc/qn/wAXi3rZdpxdT51PnbWuB8DoKi+pKSx59vw/P2I704wyot8N/f8AJCERFQCwkowXR/6kp/g31KlSwci0fVQRt22ueJ0q/XVIije8/paT47FesOpY+Ok/ZbZVcmbuubXx0iF4orOsqHAamDMHHWfNaheveSSTrJJPErxUq6122Sm/dlmqgq4KK9j1riNRIPdoXRsk05jhjaSS7NBcTpNzpKhGQaPraiNuwHOdwbp9V0JWDolL1K1/RER1SzzGC+oREVjIYxMqzZkErt0bvRaXDUhc0XWfimXNpZO/NbzcPssbDcVmBAb9ERAEREAVlnbd3NaPMlXlZg1vP1W5AD2KAvIiIDgnSdW9ZlOfcwMiA4NufMqKrZYkqetrKp++eTkHWHotaupcFgrWoJfILJydQOnmihZ2nvawd1za/hrWMpj0UUuflJhtcMikf42DQfNG9IWS7YuR2bImR2UkEcEYs1rbd7nbXHvJWciLlIBvb2wuHdK2RW09dnsFmzM6wgag8GzuetdxXHOmetDquCMEExwuLu4vdoB8B5rOvk6sNv1PBz1ERdBMmTk51poSNYmjI454X0Xl4XpZf4L58w7SmWrpmDSTMzkDc+QX0BiWTNpZNlwGjxIXDnNKmW/g/wDRw3+bq0vj/ZAVn5Co+tqI27Ac93ALAWyyLlcUznOzM8kAXvawVBxuz1Y+o/G/JM3d3pvs5OgKOYyrLRsjGtxueDf917FjSM9pj28io/lzKInmLxfNsGtvuCsnUOoVSx3GqW2/H7ELiYlkbk5rSRr0RehtyANZNhxKqhPEswZR2a+U7TmDgNfqpKsbJtJ1UUbNzRfjtWSr9h0+jTGHy8/UqeTb6trkERF1Ggj2MpPyom/NKPIFZmQo7MHBavFr7y07Nwc7mQPZbzJbLMHBAZqIiAIiIAVZpezfeSebiq5XWaTuBPkkLbNaNzQPJAVqxXTZkUj/AJWOdyaSr60eNqrqsn1btX5LgOLtA9V6jKK20j54e/OJdvJdzN/dUoEXUWELpHQpS3nqpPljYwcXOJPoFzddf6FaW1NUSfNMG+DWD7rCfBz5T1UzoyLWYixBHQwOmlOgaGtHae86mtXFMRdIVVWFw6wwwnVDGc3R9TtblpjFsjKceVvlcHUcWdIsFE1zWObNUW+GJpuGnfI4auGtcPyhXvnlfLI7Oke4uce87B3BY6LfGKRK00RqXjkIirihc9zWtBc5xDWtGkknQAFkbia9EeRjNW9cR8ELC6+zrHfCByuV0jGlXZkce0nOPBur1VeC8ODJ1G1jrdYfzJ3fWRpF9wAso5lev6+Zz/06mj6RqVf6zkqFPYuZeP29zlx16+R3+0TCRZWTsnPncWstcC5voFlly4Ynb+jO4EFVOGPbOPdGLaJaV1cX2ykkzVIrtRSujNntLTa9ju3q0tLTT0zYmmtoL0FeIvD0zIsrzN1Sv53UiwxlOaZ7s92cxrdwuSdQuoip1haj6unaTrec88NgUz0p22Xpdz0vL8sjM9Vwqb0ts3CIit5XiI5bdnVoHysaOdz7qT0bbNCil8+tmO5+b/aAPZS6AfCEBcREQBERAWavskb7DmQPdXlZn1sH1jyufZXkAUM6WqnMya8fPJGzwzrn0UzXNemuqtBSx/NK5/g1v/JZR5N+Ot2ROSIiLpJ09XdeiqlzMmQn53SSc3aPRcJK+jcH0vVUFIzdAy/Ei59Vqs4OHNf/AIS+ZzTplykXVUMFzmMiD7b3vJ08hZc9U96Y6Mtro5LaHwAA97HEEeY5qBLOPBvx9elHQREWRvK4oi9wa0FzibNaBdxJ2ALsfR50efhLVFQAagj4GaxCD/5ei2mBcMUkEEU8DesdIwO699nP0jSBsbp3JiDEjruiju2xzXvOh3eG7uKj8zNhjw7pfk4HOeRL06/C92eYoy7nXhjOj9xw2/SFGURUTJyJ5FjnL8EzTTGmHbEmGDaPNjdIdbjYfxH+6kSiOT8WNiYxhiNmgC4PmsqpxfG6N4aHh5aQ240XPerPiZmLTQoKS8L7kHkY19lrk48s0GXKzrZ5HbAc1vALARFU7Juybm+WT8IqEVFexUxhcQBrJAHEqajCUJaLhwdYXIOs20laDC1H1lQCdTBn+OxTpWHpGHCdcp2RT3xv5ER1DIlCajB61yRyTBTNkjx3GxUhjYGgAagABwCqRTlONVS26462Rdl9lulN70EJRY+UJc2KR25jj/iV0GkieQvjle/e9x5uKmTBoCieFYtAKlwQBERAEREBZfpezuDj6D3V5WW6ZD3NA5kn2CvIAuP9NNVeppo/lhc48XO+wXYFwjpUqs/Kco+RkbP8bn1WdfJ2Ya3YRFERdBMFcMWc5jfmc1vNwHuvp2lizGMbua1vIAL50wpS9bXUjN87CeAOcfRfSC02EZnPzFES6S8N/jKNxYLzQ3lj3kAfGzxHouDr6lXBOkXDf4Ksdmi0Mt5YtwJPxM8D6pW/Y9wrf0P9iKoiLcSR1DoexLYvonnQbyQX3/rYPXmpTjDJliJmjQbNfx2O9lw6grXQSxyxmz2OD2nvB1cNi+iMl5QjyhRskGlkjPiHyu1ObxBUbn4qyKnD+PqcM28e5Wrh8kCRXqulMT3MdrabcdxWZTYfmkYJGNBadXxAHkVQ402Sk4xi21yialZCKUm1pmtRZsuRZ264n8QM4eSwljOuUPEk19fB7GcZf4vYREWBmXIahzNLXObwNlmR4gnb+448bFa9ZWTKTrZo2bC4X/iNa31TtUlGuTW/marIw03NInuSnvdCx0ml5Fzotr1eSy141tgB4L1X6Ee2KTe9FSk9tsLV4llzaWXvAb/c4BbRaHGMloGN+aVvkCVmYlvDMVmhSJajIMdmDgtugCIiAIiFAWYNbz9QHJo+5V5WaXs33ucf8iryAL5xxdVdbX1b987wODfh9l9GP1G2uxtxXz/lLBNcHyPdTSnOe5xLbP1uJ2LZWd+E0m22RxFlT5Lmj7cMrOLHD2WKdGvR5LeSieyWdF1Ln5Th+hsknJth6rvK470L02dV1Enywhvi5/8AxXYlos5IjMe7NfIKNdIGG/xtG9rR+cz82E7c4DS3xGjkpKiwT0csZOLTR8t28N479y8Uy6UMNfhasyMFoZrvG5sn62+/ioaulPa2T8JqcVJBdF6H8RmOZ9I8/BJd8W4SAaR4j0XOls8MzmOtpXDWKiPxu4C3mvJLaMbYKcGmdsxdkzOMT2j4i4RHvv2T6qQ0sAjY1g1NaByCqkiDrXF7EOHEaiq1GV40a7Z2r9WiHnc51xg/bZrcQVnVU7zqJGY3i5c/UjxnWXeyMamjOdxOryUcVX6td6mQ4riPj/pO9Pq7Kd/ELb4cySKiR2eCWNbpsbaTq0rUKc4Uo8yAOOt5z/DYtXTcdX3pSXheWZ5tzqqbXL4LMmDIjqdIO64Psr+ScONp5C8OLjm5ouLWvrW4RWuODjxkpxgk0QMsq6UXFy8BERdhzBRjGD7vp2d7nHyA91J1EsQOzqxjfljHmSUBvsksswcFnrGoW2aFkoAiIgCpkdYE911UrNYfgdwKA9phZjf4i/G2lXVZjqmHQHtPdcXV5AEREBS5gOsA8dKwqnINPJ24IXcWNvzss9EPU2uDX5Lw/BSl5giZEX2z80WvbUtgiIG2/LCIiHhosaYcFfSSRaBIPjicdkg1eB1eK+faukfC90cjXRyNNnMcLEH7L6fWtythynqv9eGOQ7HEWcP6hpWcZ6OvHyfS8Pg+bFOei/Cb6ipZUvaRTxHODiLZ8g7IbvA13XRqbo3oI3Zwp2uN7gOLnjkTZSSOINAa0BrRoDQLADcAFlKz4G63MUo6iipeOdYEnUBcr1Y+UKd0kT2NIaXC2drtvWibai2ltnBFJtJnPcoVXWyvfvcbcNnksdb6XB0w1Ojd4kLElw5UN/bJ4EFUW3EyduUoP+C0wyKdJRkjCpKcySMYNbnAffyXSoow1oaNQAA4BRTCuSXNmc+Rjm5rfhuLfEd3gparD0bHddbnJeW/siI6lcpzUVwv7CIimyLCIiAKHTnPrpTucG8mgKYqF5IOfPK7fI4/5FAS+nFmhXVTGNAVSAIiIArVQ27SrqICCZayO5ziRdattJUR9mSVvBzvuulPpwditOye07EBAY8tVjP3XH+QDvULJjxrVN7TIn/0lp8ipc/IzTsCxZMPNOwIDTRdIJHbg/td9ws2HH8B7TZWeAcPIr2XC7TsWHLhMbkBuYcXUrv3Q3ucHN9Qs+HKkT+zLE7g5v3UKlwodyw5cMOGxAdKDr6tK9XLxkyaPsukbwcQrzMo1keqaQ8fi9UB0pFz6PF9WzX1b+LbelllRdIEg7cDT/FxHkQgJuiisPSDEe3HK3hZ3uFnQ40pXfuFv8muHsgN4iwYMtwP7M0R/qAPIrMZIDqIPA3QFSIiAIiIAiIgCIiAtVUubG925jjyBKimFo9q3+IZc2lmP0W5m3utXhiKzQgJIF6iIAiIgCIiAIiIAiIgC8svUQFJjG5UGnB2K6iAxnUDTsVl+SWnYFnogNPJkBp2BYkuGWnYpGiAiEuFBuWFLhPuU8sqSwIDnMuFnDYsc5EkZ2S9vAkei6YYBuVt1E07EBztlRVx9maXgSSORWRHiisZrc1/8mj1FlN35LadgWPJkJp2BARqLHsw7cMbuBc37rNi6QmfrhkbwId9lmy4aadiw5cKjcgMyHHFM7W57P5NPtdZ0OIqd+qeLxOb6qMy4TWFLhU7kB0GOoa7sua7gQfRXFzB2Hnt1XHDQvWNqY+zLMP6j7oCZYwktT2+aRg87+yqw/HZg4KJNqKibNbK8vaHXFwL31awFN8kxZrBwQGwREQBERAEREAREQBERAEREAREQBERAEREAREQBERAEREAREQHhaFSYRuVaICw6kaditPya07FmIgMBuSmg6gsyNlgq0QBERAEREB//9k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3074" name="Picture 2" descr="http://simpleicon.com/wp-content/uploads/stopwatch-1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262787" y="1196752"/>
            <a:ext cx="765597" cy="765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ZoneTexte 6"/>
          <p:cNvSpPr txBox="1"/>
          <p:nvPr/>
        </p:nvSpPr>
        <p:spPr>
          <a:xfrm>
            <a:off x="8020490" y="1287162"/>
            <a:ext cx="74236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dirty="0" smtClean="0"/>
              <a:t>10’</a:t>
            </a:r>
            <a:endParaRPr lang="fr-FR" sz="3200" dirty="0"/>
          </a:p>
        </p:txBody>
      </p:sp>
      <p:sp>
        <p:nvSpPr>
          <p:cNvPr id="10" name="ZoneTexte 9"/>
          <p:cNvSpPr txBox="1"/>
          <p:nvPr/>
        </p:nvSpPr>
        <p:spPr>
          <a:xfrm>
            <a:off x="395536" y="4221088"/>
            <a:ext cx="310753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5088" lvl="1">
              <a:buSzPct val="100000"/>
            </a:pPr>
            <a:r>
              <a:rPr lang="fr-FR" sz="2000" b="1" dirty="0" smtClean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ests</a:t>
            </a:r>
            <a:endParaRPr lang="fr-FR" sz="2000" b="1" dirty="0">
              <a:solidFill>
                <a:schemeClr val="accent5">
                  <a:lumMod val="75000"/>
                </a:schemeClr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65088" lvl="1">
              <a:buSzPct val="100000"/>
            </a:pP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 err="1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Apples</a:t>
            </a:r>
            <a:r>
              <a:rPr lang="fr-FR" sz="2000" b="1" dirty="0"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 </a:t>
            </a:r>
            <a:r>
              <a:rPr lang="fr-FR" sz="2000" b="1" dirty="0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-&gt; 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100 </a:t>
            </a:r>
          </a:p>
          <a:p>
            <a:pPr marL="65088" lvl="1">
              <a:buSzPct val="100000"/>
            </a:pP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Cherries -&gt; 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175 </a:t>
            </a:r>
          </a:p>
          <a:p>
            <a:pPr marL="65088" lvl="1">
              <a:buSzPct val="100000"/>
            </a:pP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 smtClean="0"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Cherries -</a:t>
            </a:r>
            <a:r>
              <a:rPr lang="fr-FR" sz="2000" b="1" dirty="0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230</a:t>
            </a:r>
            <a:r>
              <a:rPr lang="fr-FR" sz="2000" b="1" dirty="0" smtClean="0">
                <a:solidFill>
                  <a:schemeClr val="tx1"/>
                </a:solidFill>
                <a:latin typeface="Consolas" panose="020B06090202040302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 </a:t>
            </a:r>
            <a:endParaRPr lang="fr-FR" sz="2000" b="1" dirty="0">
              <a:solidFill>
                <a:schemeClr val="tx1"/>
              </a:solidFill>
              <a:latin typeface="Consolas" panose="020B0609020204030204" pitchFamily="49" charset="0"/>
              <a:ea typeface="Anonymous Pro" panose="02060609030202000504" pitchFamily="49" charset="0"/>
              <a:cs typeface="Consolas" panose="020B0609020204030204" pitchFamily="49" charset="0"/>
            </a:endParaRPr>
          </a:p>
        </p:txBody>
      </p:sp>
      <p:sp>
        <p:nvSpPr>
          <p:cNvPr id="11" name="ZoneTexte 10"/>
          <p:cNvSpPr txBox="1"/>
          <p:nvPr/>
        </p:nvSpPr>
        <p:spPr>
          <a:xfrm>
            <a:off x="3995936" y="4221227"/>
            <a:ext cx="350513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5088" lvl="1">
              <a:buSzPct val="100000"/>
            </a:pPr>
            <a:r>
              <a:rPr lang="fr-FR" sz="2000" b="1" dirty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Tests </a:t>
            </a:r>
            <a:r>
              <a:rPr lang="fr-FR" sz="2000" b="1" dirty="0" smtClean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2</a:t>
            </a:r>
            <a:endParaRPr lang="fr-FR" sz="2000" b="1" dirty="0">
              <a:solidFill>
                <a:schemeClr val="accent5">
                  <a:lumMod val="75000"/>
                </a:schemeClr>
              </a:solidFill>
              <a:latin typeface="Consolas" panose="020B0609020204030204" pitchFamily="49" charset="0"/>
              <a:ea typeface="Anonymous Pro" panose="02060609030202000504" pitchFamily="49" charset="0"/>
              <a:cs typeface="Consolas" panose="020B0609020204030204" pitchFamily="49" charset="0"/>
            </a:endParaRPr>
          </a:p>
          <a:p>
            <a:pPr marL="65088" lvl="1">
              <a:buSzPct val="100000"/>
            </a:pP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 smtClean="0"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Cherries </a:t>
            </a:r>
            <a:r>
              <a:rPr lang="fr-FR" sz="2000" b="1" dirty="0"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-&gt; 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75 </a:t>
            </a:r>
          </a:p>
          <a:p>
            <a:pPr marL="65088" lvl="1">
              <a:buSzPct val="100000"/>
            </a:pP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 err="1" smtClean="0"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Apples</a:t>
            </a:r>
            <a:r>
              <a:rPr lang="fr-FR" sz="2000" b="1" dirty="0" smtClean="0"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 </a:t>
            </a:r>
            <a:r>
              <a:rPr lang="fr-FR" sz="2000" b="1" dirty="0"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-&gt; 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175 </a:t>
            </a:r>
          </a:p>
          <a:p>
            <a:pPr marL="65088" lvl="1">
              <a:buSzPct val="100000"/>
            </a:pP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 smtClean="0"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Cherries </a:t>
            </a:r>
            <a:r>
              <a:rPr lang="fr-FR" sz="2000" b="1" dirty="0"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-&gt; </a:t>
            </a:r>
            <a:r>
              <a:rPr lang="fr-FR" sz="2000" b="1" dirty="0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230 </a:t>
            </a:r>
            <a:endParaRPr lang="fr-FR" sz="2000" b="1" dirty="0">
              <a:solidFill>
                <a:schemeClr val="tx1"/>
              </a:solidFill>
              <a:latin typeface="Anonymous Pro" panose="02060609030202000504" pitchFamily="49" charset="0"/>
              <a:ea typeface="Anonymous Pro" panose="02060609030202000504" pitchFamily="49" charset="0"/>
              <a:cs typeface="Consolas" panose="020B0609020204030204" pitchFamily="49" charset="0"/>
            </a:endParaRPr>
          </a:p>
          <a:p>
            <a:pPr marL="65088" lvl="1">
              <a:buSzPct val="100000"/>
            </a:pP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Bananas 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-&gt; </a:t>
            </a:r>
            <a:r>
              <a:rPr lang="fr-FR" sz="2000" b="1" dirty="0" smtClean="0"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38</a:t>
            </a:r>
            <a:r>
              <a:rPr lang="fr-FR" sz="2000" b="1" dirty="0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0 </a:t>
            </a:r>
            <a:endParaRPr lang="fr-FR" sz="2000" b="1" dirty="0">
              <a:solidFill>
                <a:schemeClr val="tx1"/>
              </a:solidFill>
              <a:latin typeface="Anonymous Pro" panose="02060609030202000504" pitchFamily="49" charset="0"/>
              <a:ea typeface="Anonymous Pro" panose="02060609030202000504" pitchFamily="49" charset="0"/>
              <a:cs typeface="Consolas" panose="020B0609020204030204" pitchFamily="49" charset="0"/>
            </a:endParaRPr>
          </a:p>
          <a:p>
            <a:pPr marL="65088" lvl="1">
              <a:buSzPct val="100000"/>
            </a:pPr>
            <a:r>
              <a:rPr lang="fr-FR" sz="2000" b="1" dirty="0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 smtClean="0"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Cherries </a:t>
            </a:r>
            <a:r>
              <a:rPr lang="fr-FR" sz="2000" b="1" dirty="0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-&gt; 455</a:t>
            </a:r>
          </a:p>
          <a:p>
            <a:pPr marL="65088" lvl="1">
              <a:buSzPct val="100000"/>
            </a:pPr>
            <a:r>
              <a:rPr lang="fr-FR" sz="2000" b="1" dirty="0"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 smtClean="0"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Cherries -&gt; </a:t>
            </a:r>
            <a:r>
              <a:rPr lang="fr-FR" sz="2000" b="1" dirty="0"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510 </a:t>
            </a:r>
          </a:p>
          <a:p>
            <a:pPr marL="65088" lvl="1">
              <a:buSzPct val="100000"/>
            </a:pPr>
            <a:r>
              <a:rPr lang="fr-FR" sz="2000" b="1" dirty="0"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 err="1" smtClean="0"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Apples</a:t>
            </a:r>
            <a:r>
              <a:rPr lang="fr-FR" sz="2000" b="1" dirty="0" smtClean="0"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 </a:t>
            </a:r>
            <a:r>
              <a:rPr lang="fr-FR" sz="2000" b="1" dirty="0"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-&gt; </a:t>
            </a:r>
            <a:r>
              <a:rPr lang="fr-FR" sz="2000" b="1" dirty="0" smtClean="0"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610</a:t>
            </a:r>
            <a:endParaRPr lang="fr-FR" sz="2000" b="1" dirty="0">
              <a:latin typeface="Anonymous Pro" panose="02060609030202000504" pitchFamily="49" charset="0"/>
              <a:ea typeface="Anonymous Pro" panose="02060609030202000504" pitchFamily="49" charset="0"/>
              <a:cs typeface="Consolas" panose="020B0609020204030204" pitchFamily="49" charset="0"/>
            </a:endParaRPr>
          </a:p>
        </p:txBody>
      </p:sp>
      <p:pic>
        <p:nvPicPr>
          <p:cNvPr id="5124" name="Picture 4" descr="http://www.suestarkey.com/wp-content/uploads/2013/03/special-offer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1207" y="2348880"/>
            <a:ext cx="2721651" cy="1656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17040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395536" y="2132856"/>
            <a:ext cx="6157664" cy="4392488"/>
          </a:xfrm>
        </p:spPr>
        <p:txBody>
          <a:bodyPr/>
          <a:lstStyle/>
          <a:p>
            <a:r>
              <a:rPr lang="en-US" sz="2400" dirty="0" smtClean="0"/>
              <a:t>Goal : Support CSV format</a:t>
            </a:r>
          </a:p>
          <a:p>
            <a:r>
              <a:rPr lang="en-US" sz="2400" dirty="0" smtClean="0"/>
              <a:t>Products are delimited by a comma</a:t>
            </a:r>
          </a:p>
          <a:p>
            <a:r>
              <a:rPr lang="en-US" sz="2400" dirty="0" smtClean="0"/>
              <a:t>Keep existing offers and discounts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FC98-F726-4387-BD61-63831D042500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460375" y="1161913"/>
            <a:ext cx="8229600" cy="782960"/>
          </a:xfrm>
        </p:spPr>
        <p:txBody>
          <a:bodyPr/>
          <a:lstStyle/>
          <a:p>
            <a:r>
              <a:rPr lang="fr-FR" sz="3600" dirty="0" err="1" smtClean="0"/>
              <a:t>Iteration</a:t>
            </a:r>
            <a:r>
              <a:rPr lang="fr-FR" sz="3600" dirty="0" smtClean="0"/>
              <a:t> 3</a:t>
            </a:r>
            <a:r>
              <a:rPr lang="fr-FR" sz="1800" dirty="0"/>
              <a:t/>
            </a:r>
            <a:br>
              <a:rPr lang="fr-FR" sz="1800" dirty="0"/>
            </a:br>
            <a:endParaRPr lang="fr-FR" sz="1800" dirty="0"/>
          </a:p>
        </p:txBody>
      </p:sp>
      <p:sp>
        <p:nvSpPr>
          <p:cNvPr id="5" name="AutoShape 2" descr="data:image/jpeg;base64,/9j/4AAQSkZJRgABAQAAAQABAAD/2wCEAAkGBhQQEBASEhIPEBAWEBIQEA8UFRQPEBIQFBAVFBQQEhIXGyYeFxkjGRIUHy8gIycpLCwsFR4xNTAqNSYrLCkBCQoKDgwOGg8PGiklHyQtKTQpLDA1KiksLC0sLCw1NSwqLCwvLDQsLC0pLCotLCwsKSwsLCwsLCwsLCksLCwpKf/AABEIAMsA+AMBIgACEQEDEQH/xAAcAAEAAQUBAQAAAAAAAAAAAAAABgIDBAUHAQj/xAA+EAABAwIBCAgEBQMDBQAAAAABAAIDBBEGBRIhMUFRcZEHEzJhgaGxwSJSYtEUI0JDcoKSojPh4hVTwvDx/8QAGgEBAAIDAQAAAAAAAAAAAAAAAAUGAgMEAf/EACwRAAICAgEDAgUEAwEAAAAAAAABAgMEETEFEiETQVFhcaHxQoGRwTKx0SL/2gAMAwEAAhEDEQA/AO4oiIAiIgCK26oaDYkA/wDu1etlB1EHgQUBWiIgCIiAIiIAiIgCIiAIiIAiIgCIiAIiIAiIgCIiAIiIAiIgCIiAIi8KAt05vnHe8+QA9lW6IHWAeIBVukHwDvu7+4k+6vIC1+GbutwJb6J1O5zx439QVdRAWsx3zA8R9il3bmnxI8rK6iAtdadrHeFj7p+IG3OHFp9bK6qTIN45oCkTtP6m81cXhAO4+at/hm7gOHw+iAuorXUbi4eJPqnVu2O5gH0sgLqK18f0Hm37p1jtrT4EH1sgLqK11+8OHgT6L0VDfmHjo9UBcReB19WleoAiIgCIiAIiIAiIgCIiAIiIArdQ6zXHuPoris1XZtvIHNwCAuRtsANwA8lUiIAiKN40xnHk6K+h87geqivr+p25oXqWzKMXJ6RtMtZfho4+snkbG3YNbnHc1uslcyy70ySvJbSxtib/AN2T4nnvDdQ81BMr5Zlq5TLO8vedXytHytGwLCW5QS5JWrEjHzLyzbV2LKuc/mVM57g4sbybZa41b/nk/ud91aRZnWopcIzaXLc8RvHPOw9z3W5XspNknpXrIbB5ZUM2h4s+3c8KGIjSZjKuEuUd3w10l01YQwkwTH9t/ZJ3MfqKly+Wl0bAHSU6JzKarcXRGzY5jpdGdgedre/YtUofAj7sTS7ofwdfReNdcXGkawVRUzBjHOOoNJ5BaW0ltnAlt6Li8IXPP+uTZxIkeLkm17gX2WWVFiqdv6mu4tHsoSPW6Hymv4JN9Mt9mibGnaf0t5aea8/DjYXD+oqPZIxPJNKyMsZp1uFxYDbZSZSmPk15Ee6vg4bqZ0vtmWuqOx58QD7JZ+9p8CPcqzXZUjhzesdm31aCdSpiy1C7VKznb1WburUu1yW/hsxVU2u5J6MjPd8oPA/eyddva8eF/RVMna7U5p4EFVrYmnwYa0WvxLd9uN2+qra8HUQeGlVKh0LTra0+AXp4VorLoAATpFgTocQOV7Kikqg5o03NhfjZAZKIiAIiIArM+tg+q/JpKvKy7TI3ua4+YH3QF5ERAYmVcpMpoZJpDZjGlx3m2oDvK+dcu5akrJ3zyH4nHQ3Yxn6WDuC6P0z5aIZBStPaPWyD6WmzRzvyXKFvrXjZLYdWo979wiIth3BFvcL4Onyg8iIBsYNnzO7De4bz3LoNP0KwBvx1E7nbS0NYL9w0rFySNFl8IPTZyFF0HEfRFLAx0lM8ztAuYyLS2Hy20O4Ln5H/AMXqafBnCyM1uLPERF6bDsvRLigzwuppHXkhALCdJdCTYcjo5KR4vrMyAMGt7reA0lcYwDlM0+UaZ17Nc/qn/wAXi3rZdpxdT51PnbWuB8DoKi+pKSx59vw/P2I704wyot8N/f8AJCERFQCwkowXR/6kp/g31KlSwci0fVQRt22ueJ0q/XVIije8/paT47FesOpY+Ok/ZbZVcmbuubXx0iF4orOsqHAamDMHHWfNaheveSSTrJJPErxUq6122Sm/dlmqgq4KK9j1riNRIPdoXRsk05jhjaSS7NBcTpNzpKhGQaPraiNuwHOdwbp9V0JWDolL1K1/RER1SzzGC+oREVjIYxMqzZkErt0bvRaXDUhc0XWfimXNpZO/NbzcPssbDcVmBAb9ERAEREAVlnbd3NaPMlXlZg1vP1W5AD2KAvIiIDgnSdW9ZlOfcwMiA4NufMqKrZYkqetrKp++eTkHWHotaupcFgrWoJfILJydQOnmihZ2nvawd1za/hrWMpj0UUuflJhtcMikf42DQfNG9IWS7YuR2bImR2UkEcEYs1rbd7nbXHvJWciLlIBvb2wuHdK2RW09dnsFmzM6wgag8GzuetdxXHOmetDquCMEExwuLu4vdoB8B5rOvk6sNv1PBz1ERdBMmTk51poSNYmjI454X0Xl4XpZf4L58w7SmWrpmDSTMzkDc+QX0BiWTNpZNlwGjxIXDnNKmW/g/wDRw3+bq0vj/ZAVn5Co+tqI27Ac93ALAWyyLlcUznOzM8kAXvawVBxuz1Y+o/G/JM3d3pvs5OgKOYyrLRsjGtxueDf917FjSM9pj28io/lzKInmLxfNsGtvuCsnUOoVSx3GqW2/H7ELiYlkbk5rSRr0RehtyANZNhxKqhPEswZR2a+U7TmDgNfqpKsbJtJ1UUbNzRfjtWSr9h0+jTGHy8/UqeTb6trkERF1Ggj2MpPyom/NKPIFZmQo7MHBavFr7y07Nwc7mQPZbzJbLMHBAZqIiAIiIAVZpezfeSebiq5XWaTuBPkkLbNaNzQPJAVqxXTZkUj/AJWOdyaSr60eNqrqsn1btX5LgOLtA9V6jKK20j54e/OJdvJdzN/dUoEXUWELpHQpS3nqpPljYwcXOJPoFzddf6FaW1NUSfNMG+DWD7rCfBz5T1UzoyLWYixBHQwOmlOgaGtHae86mtXFMRdIVVWFw6wwwnVDGc3R9TtblpjFsjKceVvlcHUcWdIsFE1zWObNUW+GJpuGnfI4auGtcPyhXvnlfLI7Oke4uce87B3BY6LfGKRK00RqXjkIirihc9zWtBc5xDWtGkknQAFkbia9EeRjNW9cR8ELC6+zrHfCByuV0jGlXZkce0nOPBur1VeC8ODJ1G1jrdYfzJ3fWRpF9wAso5lev6+Zz/06mj6RqVf6zkqFPYuZeP29zlx16+R3+0TCRZWTsnPncWstcC5voFlly4Ynb+jO4EFVOGPbOPdGLaJaV1cX2ykkzVIrtRSujNntLTa9ju3q0tLTT0zYmmtoL0FeIvD0zIsrzN1Sv53UiwxlOaZ7s92cxrdwuSdQuoip1haj6unaTrec88NgUz0p22Xpdz0vL8sjM9Vwqb0ts3CIit5XiI5bdnVoHysaOdz7qT0bbNCil8+tmO5+b/aAPZS6AfCEBcREQBERAWavskb7DmQPdXlZn1sH1jyufZXkAUM6WqnMya8fPJGzwzrn0UzXNemuqtBSx/NK5/g1v/JZR5N+Ot2ROSIiLpJ09XdeiqlzMmQn53SSc3aPRcJK+jcH0vVUFIzdAy/Ei59Vqs4OHNf/AIS+ZzTplykXVUMFzmMiD7b3vJ08hZc9U96Y6Mtro5LaHwAA97HEEeY5qBLOPBvx9elHQREWRvK4oi9wa0FzibNaBdxJ2ALsfR50efhLVFQAagj4GaxCD/5ei2mBcMUkEEU8DesdIwO699nP0jSBsbp3JiDEjruiju2xzXvOh3eG7uKj8zNhjw7pfk4HOeRL06/C92eYoy7nXhjOj9xw2/SFGURUTJyJ5FjnL8EzTTGmHbEmGDaPNjdIdbjYfxH+6kSiOT8WNiYxhiNmgC4PmsqpxfG6N4aHh5aQ240XPerPiZmLTQoKS8L7kHkY19lrk48s0GXKzrZ5HbAc1vALARFU7Juybm+WT8IqEVFexUxhcQBrJAHEqajCUJaLhwdYXIOs20laDC1H1lQCdTBn+OxTpWHpGHCdcp2RT3xv5ER1DIlCajB61yRyTBTNkjx3GxUhjYGgAagABwCqRTlONVS26462Rdl9lulN70EJRY+UJc2KR25jj/iV0GkieQvjle/e9x5uKmTBoCieFYtAKlwQBERAEREBZfpezuDj6D3V5WW6ZD3NA5kn2CvIAuP9NNVeppo/lhc48XO+wXYFwjpUqs/Kco+RkbP8bn1WdfJ2Ya3YRFERdBMFcMWc5jfmc1vNwHuvp2lizGMbua1vIAL50wpS9bXUjN87CeAOcfRfSC02EZnPzFES6S8N/jKNxYLzQ3lj3kAfGzxHouDr6lXBOkXDf4Ksdmi0Mt5YtwJPxM8D6pW/Y9wrf0P9iKoiLcSR1DoexLYvonnQbyQX3/rYPXmpTjDJliJmjQbNfx2O9lw6grXQSxyxmz2OD2nvB1cNi+iMl5QjyhRskGlkjPiHyu1ObxBUbn4qyKnD+PqcM28e5Wrh8kCRXqulMT3MdrabcdxWZTYfmkYJGNBadXxAHkVQ402Sk4xi21yialZCKUm1pmtRZsuRZ264n8QM4eSwljOuUPEk19fB7GcZf4vYREWBmXIahzNLXObwNlmR4gnb+448bFa9ZWTKTrZo2bC4X/iNa31TtUlGuTW/marIw03NInuSnvdCx0ml5Fzotr1eSy141tgB4L1X6Ee2KTe9FSk9tsLV4llzaWXvAb/c4BbRaHGMloGN+aVvkCVmYlvDMVmhSJajIMdmDgtugCIiAIiFAWYNbz9QHJo+5V5WaXs33ucf8iryAL5xxdVdbX1b987wODfh9l9GP1G2uxtxXz/lLBNcHyPdTSnOe5xLbP1uJ2LZWd+E0m22RxFlT5Lmj7cMrOLHD2WKdGvR5LeSieyWdF1Ln5Th+hsknJth6rvK470L02dV1Enywhvi5/8AxXYlos5IjMe7NfIKNdIGG/xtG9rR+cz82E7c4DS3xGjkpKiwT0csZOLTR8t28N479y8Uy6UMNfhasyMFoZrvG5sn62+/ioaulPa2T8JqcVJBdF6H8RmOZ9I8/BJd8W4SAaR4j0XOls8MzmOtpXDWKiPxu4C3mvJLaMbYKcGmdsxdkzOMT2j4i4RHvv2T6qQ0sAjY1g1NaByCqkiDrXF7EOHEaiq1GV40a7Z2r9WiHnc51xg/bZrcQVnVU7zqJGY3i5c/UjxnWXeyMamjOdxOryUcVX6td6mQ4riPj/pO9Pq7Kd/ELb4cySKiR2eCWNbpsbaTq0rUKc4Uo8yAOOt5z/DYtXTcdX3pSXheWZ5tzqqbXL4LMmDIjqdIO64Psr+ScONp5C8OLjm5ouLWvrW4RWuODjxkpxgk0QMsq6UXFy8BERdhzBRjGD7vp2d7nHyA91J1EsQOzqxjfljHmSUBvsksswcFnrGoW2aFkoAiIgCpkdYE911UrNYfgdwKA9phZjf4i/G2lXVZjqmHQHtPdcXV5AEREBS5gOsA8dKwqnINPJ24IXcWNvzss9EPU2uDX5Lw/BSl5giZEX2z80WvbUtgiIG2/LCIiHhosaYcFfSSRaBIPjicdkg1eB1eK+faukfC90cjXRyNNnMcLEH7L6fWtythynqv9eGOQ7HEWcP6hpWcZ6OvHyfS8Pg+bFOei/Cb6ipZUvaRTxHODiLZ8g7IbvA13XRqbo3oI3Zwp2uN7gOLnjkTZSSOINAa0BrRoDQLADcAFlKz4G63MUo6iipeOdYEnUBcr1Y+UKd0kT2NIaXC2drtvWibai2ltnBFJtJnPcoVXWyvfvcbcNnksdb6XB0w1Ojd4kLElw5UN/bJ4EFUW3EyduUoP+C0wyKdJRkjCpKcySMYNbnAffyXSoow1oaNQAA4BRTCuSXNmc+Rjm5rfhuLfEd3gparD0bHddbnJeW/siI6lcpzUVwv7CIimyLCIiAKHTnPrpTucG8mgKYqF5IOfPK7fI4/5FAS+nFmhXVTGNAVSAIiIArVQ27SrqICCZayO5ziRdattJUR9mSVvBzvuulPpwditOye07EBAY8tVjP3XH+QDvULJjxrVN7TIn/0lp8ipc/IzTsCxZMPNOwIDTRdIJHbg/td9ws2HH8B7TZWeAcPIr2XC7TsWHLhMbkBuYcXUrv3Q3ucHN9Qs+HKkT+zLE7g5v3UKlwodyw5cMOGxAdKDr6tK9XLxkyaPsukbwcQrzMo1keqaQ8fi9UB0pFz6PF9WzX1b+LbelllRdIEg7cDT/FxHkQgJuiisPSDEe3HK3hZ3uFnQ40pXfuFv8muHsgN4iwYMtwP7M0R/qAPIrMZIDqIPA3QFSIiAIiIAiIgCIiAtVUubG925jjyBKimFo9q3+IZc2lmP0W5m3utXhiKzQgJIF6iIAiIgCIiAIiIAiIgC8svUQFJjG5UGnB2K6iAxnUDTsVl+SWnYFnogNPJkBp2BYkuGWnYpGiAiEuFBuWFLhPuU8sqSwIDnMuFnDYsc5EkZ2S9vAkei6YYBuVt1E07EBztlRVx9maXgSSORWRHiisZrc1/8mj1FlN35LadgWPJkJp2BARqLHsw7cMbuBc37rNi6QmfrhkbwId9lmy4aadiw5cKjcgMyHHFM7W57P5NPtdZ0OIqd+qeLxOb6qMy4TWFLhU7kB0GOoa7sua7gQfRXFzB2Hnt1XHDQvWNqY+zLMP6j7oCZYwktT2+aRg87+yqw/HZg4KJNqKibNbK8vaHXFwL31awFN8kxZrBwQGwREQBERAEREAREQBERAEREAREQBERAEREAREQBERAEREAREQHhaFSYRuVaICw6kaditPya07FmIgMBuSmg6gsyNlgq0QBERAEREB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6" name="AutoShape 4" descr="data:image/jpeg;base64,/9j/4AAQSkZJRgABAQAAAQABAAD/2wCEAAkGBhQQEBASEhIPEBAWEBIQEA8UFRQPEBIQFBAVFBQQEhIXGyYeFxkjGRIUHy8gIycpLCwsFR4xNTAqNSYrLCkBCQoKDgwOGg8PGiklHyQtKTQpLDA1KiksLC0sLCw1NSwqLCwvLDQsLC0pLCotLCwsKSwsLCwsLCwsLCksLCwpKf/AABEIAMsA+AMBIgACEQEDEQH/xAAcAAEAAQUBAQAAAAAAAAAAAAAABgIDBAUHAQj/xAA+EAABAwIBCAgEBQMDBQAAAAABAAIDBBEGBRIhMUFRcZEHEzJhgaGxwSJSYtEUI0JDcoKSojPh4hVTwvDx/8QAGgEBAAIDAQAAAAAAAAAAAAAAAAUGAgMEAf/EACwRAAICAgEDAgUEAwEAAAAAAAABAgMEETEFEiETQVFhcaHxQoGRwTKx0SL/2gAMAwEAAhEDEQA/AO4oiIAiIgCK26oaDYkA/wDu1etlB1EHgQUBWiIgCIiAIiIAiIgCIiAIiIAiIgCIiAIiIAiIgCIiAIiIAiIgCIiAIi8KAt05vnHe8+QA9lW6IHWAeIBVukHwDvu7+4k+6vIC1+GbutwJb6J1O5zx439QVdRAWsx3zA8R9il3bmnxI8rK6iAtdadrHeFj7p+IG3OHFp9bK6qTIN45oCkTtP6m81cXhAO4+at/hm7gOHw+iAuorXUbi4eJPqnVu2O5gH0sgLqK18f0Hm37p1jtrT4EH1sgLqK11+8OHgT6L0VDfmHjo9UBcReB19WleoAiIgCIiAIiIAiIgCIiAIiIArdQ6zXHuPoris1XZtvIHNwCAuRtsANwA8lUiIAiKN40xnHk6K+h87geqivr+p25oXqWzKMXJ6RtMtZfho4+snkbG3YNbnHc1uslcyy70ySvJbSxtib/AN2T4nnvDdQ81BMr5Zlq5TLO8vedXytHytGwLCW5QS5JWrEjHzLyzbV2LKuc/mVM57g4sbybZa41b/nk/ud91aRZnWopcIzaXLc8RvHPOw9z3W5XspNknpXrIbB5ZUM2h4s+3c8KGIjSZjKuEuUd3w10l01YQwkwTH9t/ZJ3MfqKly+Wl0bAHSU6JzKarcXRGzY5jpdGdgedre/YtUofAj7sTS7ofwdfReNdcXGkawVRUzBjHOOoNJ5BaW0ltnAlt6Li8IXPP+uTZxIkeLkm17gX2WWVFiqdv6mu4tHsoSPW6Hymv4JN9Mt9mibGnaf0t5aea8/DjYXD+oqPZIxPJNKyMsZp1uFxYDbZSZSmPk15Ee6vg4bqZ0vtmWuqOx58QD7JZ+9p8CPcqzXZUjhzesdm31aCdSpiy1C7VKznb1WburUu1yW/hsxVU2u5J6MjPd8oPA/eyddva8eF/RVMna7U5p4EFVrYmnwYa0WvxLd9uN2+qra8HUQeGlVKh0LTra0+AXp4VorLoAATpFgTocQOV7Kikqg5o03NhfjZAZKIiAIiIArM+tg+q/JpKvKy7TI3ua4+YH3QF5ERAYmVcpMpoZJpDZjGlx3m2oDvK+dcu5akrJ3zyH4nHQ3Yxn6WDuC6P0z5aIZBStPaPWyD6WmzRzvyXKFvrXjZLYdWo979wiIth3BFvcL4Onyg8iIBsYNnzO7De4bz3LoNP0KwBvx1E7nbS0NYL9w0rFySNFl8IPTZyFF0HEfRFLAx0lM8ztAuYyLS2Hy20O4Ln5H/AMXqafBnCyM1uLPERF6bDsvRLigzwuppHXkhALCdJdCTYcjo5KR4vrMyAMGt7reA0lcYwDlM0+UaZ17Nc/qn/wAXi3rZdpxdT51PnbWuB8DoKi+pKSx59vw/P2I704wyot8N/f8AJCERFQCwkowXR/6kp/g31KlSwci0fVQRt22ueJ0q/XVIije8/paT47FesOpY+Ok/ZbZVcmbuubXx0iF4orOsqHAamDMHHWfNaheveSSTrJJPErxUq6122Sm/dlmqgq4KK9j1riNRIPdoXRsk05jhjaSS7NBcTpNzpKhGQaPraiNuwHOdwbp9V0JWDolL1K1/RER1SzzGC+oREVjIYxMqzZkErt0bvRaXDUhc0XWfimXNpZO/NbzcPssbDcVmBAb9ERAEREAVlnbd3NaPMlXlZg1vP1W5AD2KAvIiIDgnSdW9ZlOfcwMiA4NufMqKrZYkqetrKp++eTkHWHotaupcFgrWoJfILJydQOnmihZ2nvawd1za/hrWMpj0UUuflJhtcMikf42DQfNG9IWS7YuR2bImR2UkEcEYs1rbd7nbXHvJWciLlIBvb2wuHdK2RW09dnsFmzM6wgag8GzuetdxXHOmetDquCMEExwuLu4vdoB8B5rOvk6sNv1PBz1ERdBMmTk51poSNYmjI454X0Xl4XpZf4L58w7SmWrpmDSTMzkDc+QX0BiWTNpZNlwGjxIXDnNKmW/g/wDRw3+bq0vj/ZAVn5Co+tqI27Ac93ALAWyyLlcUznOzM8kAXvawVBxuz1Y+o/G/JM3d3pvs5OgKOYyrLRsjGtxueDf917FjSM9pj28io/lzKInmLxfNsGtvuCsnUOoVSx3GqW2/H7ELiYlkbk5rSRr0RehtyANZNhxKqhPEswZR2a+U7TmDgNfqpKsbJtJ1UUbNzRfjtWSr9h0+jTGHy8/UqeTb6trkERF1Ggj2MpPyom/NKPIFZmQo7MHBavFr7y07Nwc7mQPZbzJbLMHBAZqIiAIiIAVZpezfeSebiq5XWaTuBPkkLbNaNzQPJAVqxXTZkUj/AJWOdyaSr60eNqrqsn1btX5LgOLtA9V6jKK20j54e/OJdvJdzN/dUoEXUWELpHQpS3nqpPljYwcXOJPoFzddf6FaW1NUSfNMG+DWD7rCfBz5T1UzoyLWYixBHQwOmlOgaGtHae86mtXFMRdIVVWFw6wwwnVDGc3R9TtblpjFsjKceVvlcHUcWdIsFE1zWObNUW+GJpuGnfI4auGtcPyhXvnlfLI7Oke4uce87B3BY6LfGKRK00RqXjkIirihc9zWtBc5xDWtGkknQAFkbia9EeRjNW9cR8ELC6+zrHfCByuV0jGlXZkce0nOPBur1VeC8ODJ1G1jrdYfzJ3fWRpF9wAso5lev6+Zz/06mj6RqVf6zkqFPYuZeP29zlx16+R3+0TCRZWTsnPncWstcC5voFlly4Ynb+jO4EFVOGPbOPdGLaJaV1cX2ykkzVIrtRSujNntLTa9ju3q0tLTT0zYmmtoL0FeIvD0zIsrzN1Sv53UiwxlOaZ7s92cxrdwuSdQuoip1haj6unaTrec88NgUz0p22Xpdz0vL8sjM9Vwqb0ts3CIit5XiI5bdnVoHysaOdz7qT0bbNCil8+tmO5+b/aAPZS6AfCEBcREQBERAWavskb7DmQPdXlZn1sH1jyufZXkAUM6WqnMya8fPJGzwzrn0UzXNemuqtBSx/NK5/g1v/JZR5N+Ot2ROSIiLpJ09XdeiqlzMmQn53SSc3aPRcJK+jcH0vVUFIzdAy/Ei59Vqs4OHNf/AIS+ZzTplykXVUMFzmMiD7b3vJ08hZc9U96Y6Mtro5LaHwAA97HEEeY5qBLOPBvx9elHQREWRvK4oi9wa0FzibNaBdxJ2ALsfR50efhLVFQAagj4GaxCD/5ei2mBcMUkEEU8DesdIwO699nP0jSBsbp3JiDEjruiju2xzXvOh3eG7uKj8zNhjw7pfk4HOeRL06/C92eYoy7nXhjOj9xw2/SFGURUTJyJ5FjnL8EzTTGmHbEmGDaPNjdIdbjYfxH+6kSiOT8WNiYxhiNmgC4PmsqpxfG6N4aHh5aQ240XPerPiZmLTQoKS8L7kHkY19lrk48s0GXKzrZ5HbAc1vALARFU7Juybm+WT8IqEVFexUxhcQBrJAHEqajCUJaLhwdYXIOs20laDC1H1lQCdTBn+OxTpWHpGHCdcp2RT3xv5ER1DIlCajB61yRyTBTNkjx3GxUhjYGgAagABwCqRTlONVS26462Rdl9lulN70EJRY+UJc2KR25jj/iV0GkieQvjle/e9x5uKmTBoCieFYtAKlwQBERAEREBZfpezuDj6D3V5WW6ZD3NA5kn2CvIAuP9NNVeppo/lhc48XO+wXYFwjpUqs/Kco+RkbP8bn1WdfJ2Ya3YRFERdBMFcMWc5jfmc1vNwHuvp2lizGMbua1vIAL50wpS9bXUjN87CeAOcfRfSC02EZnPzFES6S8N/jKNxYLzQ3lj3kAfGzxHouDr6lXBOkXDf4Ksdmi0Mt5YtwJPxM8D6pW/Y9wrf0P9iKoiLcSR1DoexLYvonnQbyQX3/rYPXmpTjDJliJmjQbNfx2O9lw6grXQSxyxmz2OD2nvB1cNi+iMl5QjyhRskGlkjPiHyu1ObxBUbn4qyKnD+PqcM28e5Wrh8kCRXqulMT3MdrabcdxWZTYfmkYJGNBadXxAHkVQ402Sk4xi21yialZCKUm1pmtRZsuRZ264n8QM4eSwljOuUPEk19fB7GcZf4vYREWBmXIahzNLXObwNlmR4gnb+448bFa9ZWTKTrZo2bC4X/iNa31TtUlGuTW/marIw03NInuSnvdCx0ml5Fzotr1eSy141tgB4L1X6Ee2KTe9FSk9tsLV4llzaWXvAb/c4BbRaHGMloGN+aVvkCVmYlvDMVmhSJajIMdmDgtugCIiAIiFAWYNbz9QHJo+5V5WaXs33ucf8iryAL5xxdVdbX1b987wODfh9l9GP1G2uxtxXz/lLBNcHyPdTSnOe5xLbP1uJ2LZWd+E0m22RxFlT5Lmj7cMrOLHD2WKdGvR5LeSieyWdF1Ln5Th+hsknJth6rvK470L02dV1Enywhvi5/8AxXYlos5IjMe7NfIKNdIGG/xtG9rR+cz82E7c4DS3xGjkpKiwT0csZOLTR8t28N479y8Uy6UMNfhasyMFoZrvG5sn62+/ioaulPa2T8JqcVJBdF6H8RmOZ9I8/BJd8W4SAaR4j0XOls8MzmOtpXDWKiPxu4C3mvJLaMbYKcGmdsxdkzOMT2j4i4RHvv2T6qQ0sAjY1g1NaByCqkiDrXF7EOHEaiq1GV40a7Z2r9WiHnc51xg/bZrcQVnVU7zqJGY3i5c/UjxnWXeyMamjOdxOryUcVX6td6mQ4riPj/pO9Pq7Kd/ELb4cySKiR2eCWNbpsbaTq0rUKc4Uo8yAOOt5z/DYtXTcdX3pSXheWZ5tzqqbXL4LMmDIjqdIO64Psr+ScONp5C8OLjm5ouLWvrW4RWuODjxkpxgk0QMsq6UXFy8BERdhzBRjGD7vp2d7nHyA91J1EsQOzqxjfljHmSUBvsksswcFnrGoW2aFkoAiIgCpkdYE911UrNYfgdwKA9phZjf4i/G2lXVZjqmHQHtPdcXV5AEREBS5gOsA8dKwqnINPJ24IXcWNvzss9EPU2uDX5Lw/BSl5giZEX2z80WvbUtgiIG2/LCIiHhosaYcFfSSRaBIPjicdkg1eB1eK+faukfC90cjXRyNNnMcLEH7L6fWtythynqv9eGOQ7HEWcP6hpWcZ6OvHyfS8Pg+bFOei/Cb6ipZUvaRTxHODiLZ8g7IbvA13XRqbo3oI3Zwp2uN7gOLnjkTZSSOINAa0BrRoDQLADcAFlKz4G63MUo6iipeOdYEnUBcr1Y+UKd0kT2NIaXC2drtvWibai2ltnBFJtJnPcoVXWyvfvcbcNnksdb6XB0w1Ojd4kLElw5UN/bJ4EFUW3EyduUoP+C0wyKdJRkjCpKcySMYNbnAffyXSoow1oaNQAA4BRTCuSXNmc+Rjm5rfhuLfEd3gparD0bHddbnJeW/siI6lcpzUVwv7CIimyLCIiAKHTnPrpTucG8mgKYqF5IOfPK7fI4/5FAS+nFmhXVTGNAVSAIiIArVQ27SrqICCZayO5ziRdattJUR9mSVvBzvuulPpwditOye07EBAY8tVjP3XH+QDvULJjxrVN7TIn/0lp8ipc/IzTsCxZMPNOwIDTRdIJHbg/td9ws2HH8B7TZWeAcPIr2XC7TsWHLhMbkBuYcXUrv3Q3ucHN9Qs+HKkT+zLE7g5v3UKlwodyw5cMOGxAdKDr6tK9XLxkyaPsukbwcQrzMo1keqaQ8fi9UB0pFz6PF9WzX1b+LbelllRdIEg7cDT/FxHkQgJuiisPSDEe3HK3hZ3uFnQ40pXfuFv8muHsgN4iwYMtwP7M0R/qAPIrMZIDqIPA3QFSIiAIiIAiIgCIiAtVUubG925jjyBKimFo9q3+IZc2lmP0W5m3utXhiKzQgJIF6iIAiIgCIiAIiIAiIgC8svUQFJjG5UGnB2K6iAxnUDTsVl+SWnYFnogNPJkBp2BYkuGWnYpGiAiEuFBuWFLhPuU8sqSwIDnMuFnDYsc5EkZ2S9vAkei6YYBuVt1E07EBztlRVx9maXgSSORWRHiisZrc1/8mj1FlN35LadgWPJkJp2BARqLHsw7cMbuBc37rNi6QmfrhkbwId9lmy4aadiw5cKjcgMyHHFM7W57P5NPtdZ0OIqd+qeLxOb6qMy4TWFLhU7kB0GOoa7sua7gQfRXFzB2Hnt1XHDQvWNqY+zLMP6j7oCZYwktT2+aRg87+yqw/HZg4KJNqKibNbK8vaHXFwL31awFN8kxZrBwQGwREQBERAEREAREQBERAEREAREQBERAEREAREQBERAEREAREQHhaFSYRuVaICw6kaditPya07FmIgMBuSmg6gsyNlgq0QBERAEREB//9k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3074" name="Picture 2" descr="http://simpleicon.com/wp-content/uploads/stopwatch-1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262787" y="1196752"/>
            <a:ext cx="765597" cy="765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ZoneTexte 6"/>
          <p:cNvSpPr txBox="1"/>
          <p:nvPr/>
        </p:nvSpPr>
        <p:spPr>
          <a:xfrm>
            <a:off x="8020490" y="1287162"/>
            <a:ext cx="74236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dirty="0" smtClean="0"/>
              <a:t>10’</a:t>
            </a:r>
            <a:endParaRPr lang="fr-FR" sz="3200" dirty="0"/>
          </a:p>
        </p:txBody>
      </p:sp>
      <p:pic>
        <p:nvPicPr>
          <p:cNvPr id="6148" name="Picture 4" descr="http://www.icone-png.com/png/52/5235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6344" y="2132856"/>
            <a:ext cx="1827312" cy="1827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ZoneTexte 13"/>
          <p:cNvSpPr txBox="1"/>
          <p:nvPr/>
        </p:nvSpPr>
        <p:spPr>
          <a:xfrm>
            <a:off x="683568" y="4285545"/>
            <a:ext cx="561662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5088" lvl="1">
              <a:buSzPct val="100000"/>
            </a:pPr>
            <a:r>
              <a:rPr lang="fr-FR" sz="2000" b="1" dirty="0" smtClean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ests</a:t>
            </a:r>
            <a:endParaRPr lang="fr-FR" sz="2000" b="1" dirty="0">
              <a:solidFill>
                <a:schemeClr val="accent5">
                  <a:lumMod val="75000"/>
                </a:schemeClr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65088" lvl="1">
              <a:buSzPct val="100000"/>
            </a:pPr>
            <a:r>
              <a:rPr lang="fr-FR" sz="2000" b="1" dirty="0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 err="1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Apples</a:t>
            </a:r>
            <a:r>
              <a:rPr lang="fr-FR" sz="2000" b="1" dirty="0" smtClean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, Cherries, Bananas 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-&gt; 325 </a:t>
            </a:r>
          </a:p>
          <a:p>
            <a:pPr marL="65088" lvl="1">
              <a:buSzPct val="100000"/>
            </a:pP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&gt; </a:t>
            </a:r>
            <a:r>
              <a:rPr lang="fr-FR" sz="2000" b="1" dirty="0" err="1"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Apples</a:t>
            </a:r>
            <a:r>
              <a:rPr lang="fr-FR" sz="2000" b="1" dirty="0"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 -&gt; </a:t>
            </a:r>
            <a:r>
              <a:rPr lang="fr-FR" sz="2000" b="1" dirty="0">
                <a:solidFill>
                  <a:schemeClr val="tx1"/>
                </a:solidFill>
                <a:latin typeface="Anonymous Pro" panose="02060609030202000504" pitchFamily="49" charset="0"/>
                <a:ea typeface="Anonymous Pro" panose="02060609030202000504" pitchFamily="49" charset="0"/>
                <a:cs typeface="Consolas" panose="020B0609020204030204" pitchFamily="49" charset="0"/>
              </a:rPr>
              <a:t>425</a:t>
            </a:r>
          </a:p>
        </p:txBody>
      </p:sp>
    </p:spTree>
    <p:extLst>
      <p:ext uri="{BB962C8B-B14F-4D97-AF65-F5344CB8AC3E}">
        <p14:creationId xmlns:p14="http://schemas.microsoft.com/office/powerpoint/2010/main" val="1938311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wy7RY2hkqnAitLTdRWZ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9S5QrDskOCExNtu7ivG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6VYGBPUk.O7GLwjf2_g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wy7RY2hkqnAitLTdRWZ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9S5QrDskOCExNtu7ivG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6VYGBPUk.O7GLwjf2_gg"/>
</p:tagLst>
</file>

<file path=ppt/theme/theme1.xml><?xml version="1.0" encoding="utf-8"?>
<a:theme xmlns:a="http://schemas.openxmlformats.org/drawingml/2006/main" name="Modèle par défaut">
  <a:themeElements>
    <a:clrScheme name="Modèle par défau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Modèle par défau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Modèle par défau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3175"/>
      </a:spPr>
      <a:bodyPr rtlCol="0" anchor="ctr"/>
      <a:lstStyle>
        <a:defPPr algn="ctr">
          <a:defRPr dirty="0" err="1" smtClean="0"/>
        </a:defPPr>
      </a:lstStyle>
      <a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Conception personnalisé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E626B393C06DC428FD00347AA933125" ma:contentTypeVersion="3" ma:contentTypeDescription="Create a new document." ma:contentTypeScope="" ma:versionID="ddc36a71372b01a9335f976c135253b4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93efc9269a70eb8c7f7dbbd44c368f15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AverageRating" minOccurs="0"/>
                <xsd:element ref="ns1:RatingCoun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8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9" nillable="true" ma:displayName="Number of Ratings" ma:decimals="0" ma:description="Number of ratings submitted" ma:internalName="RatingCount" ma:readOnly="true">
      <xsd:simpleType>
        <xsd:restriction base="dms:Number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4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verageRating xmlns="http://schemas.microsoft.com/sharepoint/v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895F366-8E23-4BF1-A7B4-7EC481F3EA3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F74B2B0-7D19-45A4-83FE-E016FDC5AE00}">
  <ds:schemaRefs>
    <ds:schemaRef ds:uri="http://schemas.microsoft.com/office/2006/metadata/properties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purl.org/dc/terms/"/>
    <ds:schemaRef ds:uri="http://purl.org/dc/elements/1.1/"/>
    <ds:schemaRef ds:uri="http://schemas.microsoft.com/office/infopath/2007/PartnerControls"/>
    <ds:schemaRef ds:uri="http://schemas.microsoft.com/sharepoint/v3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0571E87-5740-4EF1-9D98-E17CEEA35D1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47</TotalTime>
  <Words>760</Words>
  <Application>Microsoft Office PowerPoint</Application>
  <PresentationFormat>Affichage à l'écran (4:3)</PresentationFormat>
  <Paragraphs>197</Paragraphs>
  <Slides>17</Slides>
  <Notes>1</Notes>
  <HiddenSlides>0</HiddenSlides>
  <MMClips>0</MMClips>
  <ScaleCrop>false</ScaleCrop>
  <HeadingPairs>
    <vt:vector size="6" baseType="variant">
      <vt:variant>
        <vt:lpstr>Thème</vt:lpstr>
      </vt:variant>
      <vt:variant>
        <vt:i4>3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7</vt:i4>
      </vt:variant>
    </vt:vector>
  </HeadingPairs>
  <TitlesOfParts>
    <vt:vector size="21" baseType="lpstr">
      <vt:lpstr>Modèle par défaut</vt:lpstr>
      <vt:lpstr>1_Office Theme</vt:lpstr>
      <vt:lpstr>Conception personnalisée</vt:lpstr>
      <vt:lpstr>think-cell Slide</vt:lpstr>
      <vt:lpstr>Code Dojo – Fruit Shop</vt:lpstr>
      <vt:lpstr>Code Dojo Some Principles</vt:lpstr>
      <vt:lpstr>Some tools (optionals) </vt:lpstr>
      <vt:lpstr>Some tips  </vt:lpstr>
      <vt:lpstr>Fruit shop  </vt:lpstr>
      <vt:lpstr>Iteration 0 </vt:lpstr>
      <vt:lpstr>Iteration 1 </vt:lpstr>
      <vt:lpstr>Iteration 2 </vt:lpstr>
      <vt:lpstr>Iteration 3 </vt:lpstr>
      <vt:lpstr>Iteration 3 </vt:lpstr>
      <vt:lpstr>Iteration 3’ </vt:lpstr>
      <vt:lpstr>Iteration 4  </vt:lpstr>
      <vt:lpstr>Iteration 5  </vt:lpstr>
      <vt:lpstr>Iteration 5 </vt:lpstr>
      <vt:lpstr>Iteration 5’ </vt:lpstr>
      <vt:lpstr>Iteration 6  </vt:lpstr>
      <vt:lpstr>Conclusion </vt:lpstr>
    </vt:vector>
  </TitlesOfParts>
  <Company>betclic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ir Programming</dc:title>
  <dc:creator>Sylvain Thiebaut</dc:creator>
  <cp:lastModifiedBy>Maxime Sanglan</cp:lastModifiedBy>
  <cp:revision>131</cp:revision>
  <dcterms:created xsi:type="dcterms:W3CDTF">2012-11-21T13:06:02Z</dcterms:created>
  <dcterms:modified xsi:type="dcterms:W3CDTF">2015-04-22T12:48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E626B393C06DC428FD00347AA933125</vt:lpwstr>
  </property>
</Properties>
</file>